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>
  <p:sldMasterIdLst>
    <p:sldMasterId id="2147483660" r:id="rId4"/>
  </p:sldMasterIdLst>
  <p:notesMasterIdLst>
    <p:notesMasterId r:id="rId16"/>
  </p:notesMasterIdLst>
  <p:handoutMasterIdLst>
    <p:handoutMasterId r:id="rId17"/>
  </p:handoutMasterIdLst>
  <p:sldIdLst>
    <p:sldId id="10222" r:id="rId5"/>
    <p:sldId id="1735" r:id="rId6"/>
    <p:sldId id="10229" r:id="rId7"/>
    <p:sldId id="10226" r:id="rId8"/>
    <p:sldId id="1786" r:id="rId9"/>
    <p:sldId id="10223" r:id="rId10"/>
    <p:sldId id="10227" r:id="rId11"/>
    <p:sldId id="10230" r:id="rId12"/>
    <p:sldId id="1796" r:id="rId13"/>
    <p:sldId id="1798" r:id="rId14"/>
    <p:sldId id="3129" r:id="rId15"/>
  </p:sldIdLst>
  <p:sldSz cx="12192000" cy="6858000"/>
  <p:notesSz cx="6858000" cy="9144000"/>
  <p:embeddedFontLst>
    <p:embeddedFont>
      <p:font typeface="Calibri" panose="020F0502020204030204" pitchFamily="34" charset="0"/>
      <p:regular r:id="rId18"/>
      <p:bold r:id="rId19"/>
      <p:italic r:id="rId20"/>
      <p:boldItalic r:id="rId21"/>
    </p:embeddedFont>
    <p:embeddedFont>
      <p:font typeface="Segoe UI" panose="020B0502040204020203" pitchFamily="34" charset="0"/>
      <p:regular r:id="rId22"/>
      <p:bold r:id="rId23"/>
      <p:italic r:id="rId24"/>
      <p:boldItalic r:id="rId25"/>
    </p:embeddedFont>
    <p:embeddedFont>
      <p:font typeface="Segoe UI Semibold" panose="020B0702040204020203" pitchFamily="34" charset="0"/>
      <p:bold r:id="rId26"/>
      <p:boldItalic r:id="rId27"/>
    </p:embeddedFont>
  </p:embeddedFontLst>
  <p:custDataLst>
    <p:tags r:id="rId28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5257E771-835D-C040-2A87-12315FD7509C}" name="Roman Abylkhatov" initials="RA" userId="S::roabylkh@microsoft.com::2e959579-b379-4599-8299-cd2bab77a390" providerId="AD"/>
  <p188:author id="{57E0A2A4-5434-4E7D-8F7E-22FCD266A2B6}" name="Reed Wolfe" initials="RW" userId="S::reedw@microsoft.com::d05f6079-100b-4fbc-abf2-3407048ef9c5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Julie Neiley" initials="JN" lastIdx="7" clrIdx="0">
    <p:extLst>
      <p:ext uri="{19B8F6BF-5375-455C-9EA6-DF929625EA0E}">
        <p15:presenceInfo xmlns:p15="http://schemas.microsoft.com/office/powerpoint/2012/main" userId="S::juneiley@microsoft.com::af98ba14-8982-42eb-8fbe-118df68fa5ec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505050"/>
    <a:srgbClr val="00E7CF"/>
    <a:srgbClr val="008272"/>
    <a:srgbClr val="3D3D4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3598FBA1-59ED-4C59-A5B4-1D6E8AA8E020}" v="1905" dt="2021-03-23T14:27:01.557"/>
    <p1510:client id="{6FDABDCF-76D8-9630-7D23-CBA42B309A25}" v="156" dt="2021-04-02T16:17:50.722"/>
    <p1510:client id="{A69664A0-636C-B506-DCB5-C20D577D6778}" v="182" dt="2021-03-23T14:26:38.311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3950" autoAdjust="0"/>
    <p:restoredTop sz="86397" autoAdjust="0"/>
  </p:normalViewPr>
  <p:slideViewPr>
    <p:cSldViewPr snapToGrid="0">
      <p:cViewPr varScale="1">
        <p:scale>
          <a:sx n="92" d="100"/>
          <a:sy n="92" d="100"/>
        </p:scale>
        <p:origin x="108" y="96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font" Target="fonts/font1.fntdata"/><Relationship Id="rId26" Type="http://schemas.openxmlformats.org/officeDocument/2006/relationships/font" Target="fonts/font9.fntdata"/><Relationship Id="rId3" Type="http://schemas.openxmlformats.org/officeDocument/2006/relationships/customXml" Target="../customXml/item3.xml"/><Relationship Id="rId21" Type="http://schemas.openxmlformats.org/officeDocument/2006/relationships/font" Target="fonts/font4.fntdata"/><Relationship Id="rId34" Type="http://schemas.microsoft.com/office/2016/11/relationships/changesInfo" Target="changesInfos/changesInfo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handoutMaster" Target="handoutMasters/handoutMaster1.xml"/><Relationship Id="rId25" Type="http://schemas.openxmlformats.org/officeDocument/2006/relationships/font" Target="fonts/font8.fntdata"/><Relationship Id="rId33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notesMaster" Target="notesMasters/notesMaster1.xml"/><Relationship Id="rId20" Type="http://schemas.openxmlformats.org/officeDocument/2006/relationships/font" Target="fonts/font3.fntdata"/><Relationship Id="rId29" Type="http://schemas.openxmlformats.org/officeDocument/2006/relationships/commentAuthors" Target="commentAuthor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font" Target="fonts/font7.fntdata"/><Relationship Id="rId32" Type="http://schemas.openxmlformats.org/officeDocument/2006/relationships/theme" Target="theme/theme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font" Target="fonts/font6.fntdata"/><Relationship Id="rId28" Type="http://schemas.openxmlformats.org/officeDocument/2006/relationships/tags" Target="tags/tag1.xml"/><Relationship Id="rId36" Type="http://schemas.microsoft.com/office/2018/10/relationships/authors" Target="authors.xml"/><Relationship Id="rId10" Type="http://schemas.openxmlformats.org/officeDocument/2006/relationships/slide" Target="slides/slide6.xml"/><Relationship Id="rId19" Type="http://schemas.openxmlformats.org/officeDocument/2006/relationships/font" Target="fonts/font2.fntdata"/><Relationship Id="rId31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font" Target="fonts/font5.fntdata"/><Relationship Id="rId27" Type="http://schemas.openxmlformats.org/officeDocument/2006/relationships/font" Target="fonts/font10.fntdata"/><Relationship Id="rId30" Type="http://schemas.openxmlformats.org/officeDocument/2006/relationships/presProps" Target="presProps.xml"/><Relationship Id="rId35" Type="http://schemas.microsoft.com/office/2015/10/relationships/revisionInfo" Target="revisionInfo.xml"/><Relationship Id="rId8" Type="http://schemas.openxmlformats.org/officeDocument/2006/relationships/slide" Target="slides/slide4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Roman Abylkhatov" userId="2e959579-b379-4599-8299-cd2bab77a390" providerId="ADAL" clId="{56F08F62-9616-4608-B27C-604C8C9641F5}"/>
    <pc:docChg chg="undo redo custSel delSld modSld modSection">
      <pc:chgData name="Roman Abylkhatov" userId="2e959579-b379-4599-8299-cd2bab77a390" providerId="ADAL" clId="{56F08F62-9616-4608-B27C-604C8C9641F5}" dt="2020-10-23T05:38:44.463" v="1032" actId="2696"/>
      <pc:docMkLst>
        <pc:docMk/>
      </pc:docMkLst>
      <pc:sldChg chg="addSp delSp modSp mod">
        <pc:chgData name="Roman Abylkhatov" userId="2e959579-b379-4599-8299-cd2bab77a390" providerId="ADAL" clId="{56F08F62-9616-4608-B27C-604C8C9641F5}" dt="2020-10-06T19:39:59.214" v="565" actId="20577"/>
        <pc:sldMkLst>
          <pc:docMk/>
          <pc:sldMk cId="1094870920" sldId="1735"/>
        </pc:sldMkLst>
        <pc:spChg chg="mod">
          <ac:chgData name="Roman Abylkhatov" userId="2e959579-b379-4599-8299-cd2bab77a390" providerId="ADAL" clId="{56F08F62-9616-4608-B27C-604C8C9641F5}" dt="2020-09-29T16:26:30.373" v="45" actId="20577"/>
          <ac:spMkLst>
            <pc:docMk/>
            <pc:sldMk cId="1094870920" sldId="1735"/>
            <ac:spMk id="2" creationId="{45010FE8-BF09-4146-B084-66CB05B66FD9}"/>
          </ac:spMkLst>
        </pc:spChg>
        <pc:spChg chg="mod">
          <ac:chgData name="Roman Abylkhatov" userId="2e959579-b379-4599-8299-cd2bab77a390" providerId="ADAL" clId="{56F08F62-9616-4608-B27C-604C8C9641F5}" dt="2020-10-06T19:39:59.214" v="565" actId="20577"/>
          <ac:spMkLst>
            <pc:docMk/>
            <pc:sldMk cId="1094870920" sldId="1735"/>
            <ac:spMk id="41" creationId="{177907F9-2172-46A3-AEA0-8DD4122F217B}"/>
          </ac:spMkLst>
        </pc:spChg>
        <pc:spChg chg="mod">
          <ac:chgData name="Roman Abylkhatov" userId="2e959579-b379-4599-8299-cd2bab77a390" providerId="ADAL" clId="{56F08F62-9616-4608-B27C-604C8C9641F5}" dt="2020-10-06T19:31:39.438" v="408" actId="20577"/>
          <ac:spMkLst>
            <pc:docMk/>
            <pc:sldMk cId="1094870920" sldId="1735"/>
            <ac:spMk id="55" creationId="{D909AFD3-772D-428E-8735-D3CC0F3F9928}"/>
          </ac:spMkLst>
        </pc:spChg>
        <pc:spChg chg="mod">
          <ac:chgData name="Roman Abylkhatov" userId="2e959579-b379-4599-8299-cd2bab77a390" providerId="ADAL" clId="{56F08F62-9616-4608-B27C-604C8C9641F5}" dt="2020-10-06T19:31:50.717" v="409" actId="20577"/>
          <ac:spMkLst>
            <pc:docMk/>
            <pc:sldMk cId="1094870920" sldId="1735"/>
            <ac:spMk id="60" creationId="{1F0B6B51-41D8-4F93-878F-BACE5D1A7680}"/>
          </ac:spMkLst>
        </pc:spChg>
        <pc:spChg chg="mod">
          <ac:chgData name="Roman Abylkhatov" userId="2e959579-b379-4599-8299-cd2bab77a390" providerId="ADAL" clId="{56F08F62-9616-4608-B27C-604C8C9641F5}" dt="2020-10-06T19:29:33.253" v="267" actId="20577"/>
          <ac:spMkLst>
            <pc:docMk/>
            <pc:sldMk cId="1094870920" sldId="1735"/>
            <ac:spMk id="65" creationId="{54341627-CD8C-4D9B-8381-28743BCFFBF1}"/>
          </ac:spMkLst>
        </pc:spChg>
        <pc:spChg chg="mod">
          <ac:chgData name="Roman Abylkhatov" userId="2e959579-b379-4599-8299-cd2bab77a390" providerId="ADAL" clId="{56F08F62-9616-4608-B27C-604C8C9641F5}" dt="2020-10-06T19:33:53.757" v="463" actId="20577"/>
          <ac:spMkLst>
            <pc:docMk/>
            <pc:sldMk cId="1094870920" sldId="1735"/>
            <ac:spMk id="70" creationId="{1CE81B94-64B5-49BC-8A00-1B321C123F69}"/>
          </ac:spMkLst>
        </pc:spChg>
        <pc:spChg chg="add del mod">
          <ac:chgData name="Roman Abylkhatov" userId="2e959579-b379-4599-8299-cd2bab77a390" providerId="ADAL" clId="{56F08F62-9616-4608-B27C-604C8C9641F5}" dt="2020-10-06T19:33:01.323" v="414" actId="478"/>
          <ac:spMkLst>
            <pc:docMk/>
            <pc:sldMk cId="1094870920" sldId="1735"/>
            <ac:spMk id="97" creationId="{5B8E5012-6CD0-4B42-8142-5179304A0FCA}"/>
          </ac:spMkLst>
        </pc:spChg>
        <pc:spChg chg="mod">
          <ac:chgData name="Roman Abylkhatov" userId="2e959579-b379-4599-8299-cd2bab77a390" providerId="ADAL" clId="{56F08F62-9616-4608-B27C-604C8C9641F5}" dt="2020-10-06T19:33:25.233" v="422" actId="1076"/>
          <ac:spMkLst>
            <pc:docMk/>
            <pc:sldMk cId="1094870920" sldId="1735"/>
            <ac:spMk id="99" creationId="{FC4B0DC5-704F-4EF8-8C8D-57B005D97A11}"/>
          </ac:spMkLst>
        </pc:spChg>
        <pc:spChg chg="mod">
          <ac:chgData name="Roman Abylkhatov" userId="2e959579-b379-4599-8299-cd2bab77a390" providerId="ADAL" clId="{56F08F62-9616-4608-B27C-604C8C9641F5}" dt="2020-10-06T19:30:41.615" v="338" actId="33524"/>
          <ac:spMkLst>
            <pc:docMk/>
            <pc:sldMk cId="1094870920" sldId="1735"/>
            <ac:spMk id="103" creationId="{58D773B7-673F-419E-B0B9-B5B66FF34DCD}"/>
          </ac:spMkLst>
        </pc:spChg>
        <pc:spChg chg="mod">
          <ac:chgData name="Roman Abylkhatov" userId="2e959579-b379-4599-8299-cd2bab77a390" providerId="ADAL" clId="{56F08F62-9616-4608-B27C-604C8C9641F5}" dt="2020-10-06T19:33:08.947" v="417"/>
          <ac:spMkLst>
            <pc:docMk/>
            <pc:sldMk cId="1094870920" sldId="1735"/>
            <ac:spMk id="107" creationId="{84085650-8518-468F-8C8A-021578374871}"/>
          </ac:spMkLst>
        </pc:spChg>
        <pc:spChg chg="mod">
          <ac:chgData name="Roman Abylkhatov" userId="2e959579-b379-4599-8299-cd2bab77a390" providerId="ADAL" clId="{56F08F62-9616-4608-B27C-604C8C9641F5}" dt="2020-10-06T19:33:08.947" v="417"/>
          <ac:spMkLst>
            <pc:docMk/>
            <pc:sldMk cId="1094870920" sldId="1735"/>
            <ac:spMk id="113" creationId="{5FEB52B2-E0FA-46C6-B934-58BC6077D08E}"/>
          </ac:spMkLst>
        </pc:spChg>
        <pc:spChg chg="mod">
          <ac:chgData name="Roman Abylkhatov" userId="2e959579-b379-4599-8299-cd2bab77a390" providerId="ADAL" clId="{56F08F62-9616-4608-B27C-604C8C9641F5}" dt="2020-10-06T19:38:16.249" v="537" actId="20577"/>
          <ac:spMkLst>
            <pc:docMk/>
            <pc:sldMk cId="1094870920" sldId="1735"/>
            <ac:spMk id="115" creationId="{6A8D80DA-9DE8-4C5A-B709-2F883CCAFD13}"/>
          </ac:spMkLst>
        </pc:spChg>
        <pc:spChg chg="mod">
          <ac:chgData name="Roman Abylkhatov" userId="2e959579-b379-4599-8299-cd2bab77a390" providerId="ADAL" clId="{56F08F62-9616-4608-B27C-604C8C9641F5}" dt="2020-10-06T19:35:38.408" v="465"/>
          <ac:spMkLst>
            <pc:docMk/>
            <pc:sldMk cId="1094870920" sldId="1735"/>
            <ac:spMk id="117" creationId="{049335D5-C284-44A2-A891-E27552C6306A}"/>
          </ac:spMkLst>
        </pc:spChg>
        <pc:spChg chg="mod">
          <ac:chgData name="Roman Abylkhatov" userId="2e959579-b379-4599-8299-cd2bab77a390" providerId="ADAL" clId="{56F08F62-9616-4608-B27C-604C8C9641F5}" dt="2020-10-06T19:35:38.408" v="465"/>
          <ac:spMkLst>
            <pc:docMk/>
            <pc:sldMk cId="1094870920" sldId="1735"/>
            <ac:spMk id="118" creationId="{1C452355-97E6-46AF-AAFF-546347365A22}"/>
          </ac:spMkLst>
        </pc:spChg>
        <pc:grpChg chg="mod">
          <ac:chgData name="Roman Abylkhatov" userId="2e959579-b379-4599-8299-cd2bab77a390" providerId="ADAL" clId="{56F08F62-9616-4608-B27C-604C8C9641F5}" dt="2020-10-06T19:37:28.891" v="495" actId="1076"/>
          <ac:grpSpMkLst>
            <pc:docMk/>
            <pc:sldMk cId="1094870920" sldId="1735"/>
            <ac:grpSpMk id="54" creationId="{E3151547-6629-4A30-85D7-9026BFEC7DB1}"/>
          </ac:grpSpMkLst>
        </pc:grpChg>
        <pc:grpChg chg="mod">
          <ac:chgData name="Roman Abylkhatov" userId="2e959579-b379-4599-8299-cd2bab77a390" providerId="ADAL" clId="{56F08F62-9616-4608-B27C-604C8C9641F5}" dt="2020-10-06T19:37:28.891" v="495" actId="1076"/>
          <ac:grpSpMkLst>
            <pc:docMk/>
            <pc:sldMk cId="1094870920" sldId="1735"/>
            <ac:grpSpMk id="59" creationId="{77ACF46A-463D-47C7-864A-28AF0D80B0C8}"/>
          </ac:grpSpMkLst>
        </pc:grpChg>
        <pc:grpChg chg="mod">
          <ac:chgData name="Roman Abylkhatov" userId="2e959579-b379-4599-8299-cd2bab77a390" providerId="ADAL" clId="{56F08F62-9616-4608-B27C-604C8C9641F5}" dt="2020-10-06T19:37:28.891" v="495" actId="1076"/>
          <ac:grpSpMkLst>
            <pc:docMk/>
            <pc:sldMk cId="1094870920" sldId="1735"/>
            <ac:grpSpMk id="64" creationId="{C25BF092-9D17-40D4-AEA1-85E84CD38EE6}"/>
          </ac:grpSpMkLst>
        </pc:grpChg>
        <pc:grpChg chg="mod">
          <ac:chgData name="Roman Abylkhatov" userId="2e959579-b379-4599-8299-cd2bab77a390" providerId="ADAL" clId="{56F08F62-9616-4608-B27C-604C8C9641F5}" dt="2020-10-06T19:37:28.891" v="495" actId="1076"/>
          <ac:grpSpMkLst>
            <pc:docMk/>
            <pc:sldMk cId="1094870920" sldId="1735"/>
            <ac:grpSpMk id="69" creationId="{199D9518-4245-48DA-AFDC-44848BB4C33A}"/>
          </ac:grpSpMkLst>
        </pc:grpChg>
        <pc:grpChg chg="del mod">
          <ac:chgData name="Roman Abylkhatov" userId="2e959579-b379-4599-8299-cd2bab77a390" providerId="ADAL" clId="{56F08F62-9616-4608-B27C-604C8C9641F5}" dt="2020-10-06T19:33:15.259" v="420" actId="478"/>
          <ac:grpSpMkLst>
            <pc:docMk/>
            <pc:sldMk cId="1094870920" sldId="1735"/>
            <ac:grpSpMk id="74" creationId="{50C4E2D5-ABEE-4F1C-8DF5-73DE5AC2F27A}"/>
          </ac:grpSpMkLst>
        </pc:grpChg>
        <pc:grpChg chg="del">
          <ac:chgData name="Roman Abylkhatov" userId="2e959579-b379-4599-8299-cd2bab77a390" providerId="ADAL" clId="{56F08F62-9616-4608-B27C-604C8C9641F5}" dt="2020-10-06T19:35:35.505" v="464" actId="478"/>
          <ac:grpSpMkLst>
            <pc:docMk/>
            <pc:sldMk cId="1094870920" sldId="1735"/>
            <ac:grpSpMk id="79" creationId="{00543721-9F23-4D2C-A13E-D93B984A9FDA}"/>
          </ac:grpSpMkLst>
        </pc:grpChg>
        <pc:grpChg chg="mod">
          <ac:chgData name="Roman Abylkhatov" userId="2e959579-b379-4599-8299-cd2bab77a390" providerId="ADAL" clId="{56F08F62-9616-4608-B27C-604C8C9641F5}" dt="2020-10-06T19:37:28.891" v="495" actId="1076"/>
          <ac:grpSpMkLst>
            <pc:docMk/>
            <pc:sldMk cId="1094870920" sldId="1735"/>
            <ac:grpSpMk id="84" creationId="{95831B84-1C17-4A14-9584-93D7C92B4AC9}"/>
          </ac:grpSpMkLst>
        </pc:grpChg>
        <pc:grpChg chg="add mod">
          <ac:chgData name="Roman Abylkhatov" userId="2e959579-b379-4599-8299-cd2bab77a390" providerId="ADAL" clId="{56F08F62-9616-4608-B27C-604C8C9641F5}" dt="2020-10-06T19:37:28.891" v="495" actId="1076"/>
          <ac:grpSpMkLst>
            <pc:docMk/>
            <pc:sldMk cId="1094870920" sldId="1735"/>
            <ac:grpSpMk id="98" creationId="{AED3DC3C-2C35-484A-A44A-882CFB672503}"/>
          </ac:grpSpMkLst>
        </pc:grpChg>
        <pc:grpChg chg="mod">
          <ac:chgData name="Roman Abylkhatov" userId="2e959579-b379-4599-8299-cd2bab77a390" providerId="ADAL" clId="{56F08F62-9616-4608-B27C-604C8C9641F5}" dt="2020-10-06T19:33:08.947" v="417"/>
          <ac:grpSpMkLst>
            <pc:docMk/>
            <pc:sldMk cId="1094870920" sldId="1735"/>
            <ac:grpSpMk id="106" creationId="{83C72D36-354B-434F-8B1C-38C7DCE2E832}"/>
          </ac:grpSpMkLst>
        </pc:grpChg>
        <pc:grpChg chg="mod">
          <ac:chgData name="Roman Abylkhatov" userId="2e959579-b379-4599-8299-cd2bab77a390" providerId="ADAL" clId="{56F08F62-9616-4608-B27C-604C8C9641F5}" dt="2020-10-06T19:37:28.891" v="495" actId="1076"/>
          <ac:grpSpMkLst>
            <pc:docMk/>
            <pc:sldMk cId="1094870920" sldId="1735"/>
            <ac:grpSpMk id="108" creationId="{1968FCB1-4939-4B68-8DC9-516AB0B3F2DD}"/>
          </ac:grpSpMkLst>
        </pc:grpChg>
        <pc:grpChg chg="add mod">
          <ac:chgData name="Roman Abylkhatov" userId="2e959579-b379-4599-8299-cd2bab77a390" providerId="ADAL" clId="{56F08F62-9616-4608-B27C-604C8C9641F5}" dt="2020-10-06T19:37:28.891" v="495" actId="1076"/>
          <ac:grpSpMkLst>
            <pc:docMk/>
            <pc:sldMk cId="1094870920" sldId="1735"/>
            <ac:grpSpMk id="114" creationId="{38E6168B-17A2-40FF-90C7-264C19822952}"/>
          </ac:grpSpMkLst>
        </pc:grpChg>
        <pc:grpChg chg="mod">
          <ac:chgData name="Roman Abylkhatov" userId="2e959579-b379-4599-8299-cd2bab77a390" providerId="ADAL" clId="{56F08F62-9616-4608-B27C-604C8C9641F5}" dt="2020-10-06T19:35:38.408" v="465"/>
          <ac:grpSpMkLst>
            <pc:docMk/>
            <pc:sldMk cId="1094870920" sldId="1735"/>
            <ac:grpSpMk id="116" creationId="{BA7C836A-DA15-44F2-B894-E577794C6876}"/>
          </ac:grpSpMkLst>
        </pc:grpChg>
      </pc:sldChg>
      <pc:sldChg chg="addSp delSp modSp mod">
        <pc:chgData name="Roman Abylkhatov" userId="2e959579-b379-4599-8299-cd2bab77a390" providerId="ADAL" clId="{56F08F62-9616-4608-B27C-604C8C9641F5}" dt="2020-10-06T19:52:17.734" v="727" actId="13926"/>
        <pc:sldMkLst>
          <pc:docMk/>
          <pc:sldMk cId="2345068032" sldId="1786"/>
        </pc:sldMkLst>
        <pc:spChg chg="mod">
          <ac:chgData name="Roman Abylkhatov" userId="2e959579-b379-4599-8299-cd2bab77a390" providerId="ADAL" clId="{56F08F62-9616-4608-B27C-604C8C9641F5}" dt="2020-10-06T19:41:14.339" v="603" actId="13926"/>
          <ac:spMkLst>
            <pc:docMk/>
            <pc:sldMk cId="2345068032" sldId="1786"/>
            <ac:spMk id="2" creationId="{45010FE8-BF09-4146-B084-66CB05B66FD9}"/>
          </ac:spMkLst>
        </pc:spChg>
        <pc:spChg chg="mod">
          <ac:chgData name="Roman Abylkhatov" userId="2e959579-b379-4599-8299-cd2bab77a390" providerId="ADAL" clId="{56F08F62-9616-4608-B27C-604C8C9641F5}" dt="2020-10-06T19:41:08.748" v="602"/>
          <ac:spMkLst>
            <pc:docMk/>
            <pc:sldMk cId="2345068032" sldId="1786"/>
            <ac:spMk id="11" creationId="{76583F2C-13BC-4FA8-A9DE-F1F764C38F10}"/>
          </ac:spMkLst>
        </pc:spChg>
        <pc:spChg chg="del">
          <ac:chgData name="Roman Abylkhatov" userId="2e959579-b379-4599-8299-cd2bab77a390" providerId="ADAL" clId="{56F08F62-9616-4608-B27C-604C8C9641F5}" dt="2020-10-06T19:47:41.132" v="606" actId="478"/>
          <ac:spMkLst>
            <pc:docMk/>
            <pc:sldMk cId="2345068032" sldId="1786"/>
            <ac:spMk id="15" creationId="{BDD64BFD-7ED9-4476-ABC3-6BBAC4A275B2}"/>
          </ac:spMkLst>
        </pc:spChg>
        <pc:graphicFrameChg chg="add mod modGraphic">
          <ac:chgData name="Roman Abylkhatov" userId="2e959579-b379-4599-8299-cd2bab77a390" providerId="ADAL" clId="{56F08F62-9616-4608-B27C-604C8C9641F5}" dt="2020-10-06T19:52:17.734" v="727" actId="13926"/>
          <ac:graphicFrameMkLst>
            <pc:docMk/>
            <pc:sldMk cId="2345068032" sldId="1786"/>
            <ac:graphicFrameMk id="4" creationId="{9E04F86D-C834-4ACE-86A6-012EE8D90DEB}"/>
          </ac:graphicFrameMkLst>
        </pc:graphicFrameChg>
      </pc:sldChg>
      <pc:sldChg chg="modSp mod">
        <pc:chgData name="Roman Abylkhatov" userId="2e959579-b379-4599-8299-cd2bab77a390" providerId="ADAL" clId="{56F08F62-9616-4608-B27C-604C8C9641F5}" dt="2020-10-06T19:59:23.625" v="993" actId="5793"/>
        <pc:sldMkLst>
          <pc:docMk/>
          <pc:sldMk cId="3071064459" sldId="1795"/>
        </pc:sldMkLst>
        <pc:spChg chg="mod">
          <ac:chgData name="Roman Abylkhatov" userId="2e959579-b379-4599-8299-cd2bab77a390" providerId="ADAL" clId="{56F08F62-9616-4608-B27C-604C8C9641F5}" dt="2020-10-06T19:59:23.625" v="993" actId="5793"/>
          <ac:spMkLst>
            <pc:docMk/>
            <pc:sldMk cId="3071064459" sldId="1795"/>
            <ac:spMk id="2" creationId="{45010FE8-BF09-4146-B084-66CB05B66FD9}"/>
          </ac:spMkLst>
        </pc:spChg>
      </pc:sldChg>
      <pc:sldChg chg="modSp mod">
        <pc:chgData name="Roman Abylkhatov" userId="2e959579-b379-4599-8299-cd2bab77a390" providerId="ADAL" clId="{56F08F62-9616-4608-B27C-604C8C9641F5}" dt="2020-10-06T20:02:39.181" v="995" actId="15"/>
        <pc:sldMkLst>
          <pc:docMk/>
          <pc:sldMk cId="2356428871" sldId="3131"/>
        </pc:sldMkLst>
        <pc:spChg chg="mod">
          <ac:chgData name="Roman Abylkhatov" userId="2e959579-b379-4599-8299-cd2bab77a390" providerId="ADAL" clId="{56F08F62-9616-4608-B27C-604C8C9641F5}" dt="2020-10-06T19:58:08.448" v="924" actId="14100"/>
          <ac:spMkLst>
            <pc:docMk/>
            <pc:sldMk cId="2356428871" sldId="3131"/>
            <ac:spMk id="2" creationId="{45010FE8-BF09-4146-B084-66CB05B66FD9}"/>
          </ac:spMkLst>
        </pc:spChg>
        <pc:spChg chg="mod">
          <ac:chgData name="Roman Abylkhatov" userId="2e959579-b379-4599-8299-cd2bab77a390" providerId="ADAL" clId="{56F08F62-9616-4608-B27C-604C8C9641F5}" dt="2020-10-06T20:02:39.181" v="995" actId="15"/>
          <ac:spMkLst>
            <pc:docMk/>
            <pc:sldMk cId="2356428871" sldId="3131"/>
            <ac:spMk id="20" creationId="{9C4A0BF9-E23F-4CFA-BFB9-1923DF03340F}"/>
          </ac:spMkLst>
        </pc:spChg>
        <pc:spChg chg="mod">
          <ac:chgData name="Roman Abylkhatov" userId="2e959579-b379-4599-8299-cd2bab77a390" providerId="ADAL" clId="{56F08F62-9616-4608-B27C-604C8C9641F5}" dt="2020-10-06T19:58:32.595" v="953" actId="20577"/>
          <ac:spMkLst>
            <pc:docMk/>
            <pc:sldMk cId="2356428871" sldId="3131"/>
            <ac:spMk id="26" creationId="{060B385F-DDAB-4620-9658-189E6CCEF254}"/>
          </ac:spMkLst>
        </pc:spChg>
        <pc:grpChg chg="mod">
          <ac:chgData name="Roman Abylkhatov" userId="2e959579-b379-4599-8299-cd2bab77a390" providerId="ADAL" clId="{56F08F62-9616-4608-B27C-604C8C9641F5}" dt="2020-10-06T19:55:41.670" v="888" actId="14100"/>
          <ac:grpSpMkLst>
            <pc:docMk/>
            <pc:sldMk cId="2356428871" sldId="3131"/>
            <ac:grpSpMk id="25" creationId="{68EA5DDC-E544-4F4D-AB26-DF041AFF16F8}"/>
          </ac:grpSpMkLst>
        </pc:grpChg>
      </pc:sldChg>
      <pc:sldChg chg="del">
        <pc:chgData name="Roman Abylkhatov" userId="2e959579-b379-4599-8299-cd2bab77a390" providerId="ADAL" clId="{56F08F62-9616-4608-B27C-604C8C9641F5}" dt="2020-10-23T05:37:27.741" v="1014" actId="2696"/>
        <pc:sldMkLst>
          <pc:docMk/>
          <pc:sldMk cId="998631707" sldId="3133"/>
        </pc:sldMkLst>
      </pc:sldChg>
      <pc:sldChg chg="addSp delSp modSp mod modTransition modClrScheme chgLayout">
        <pc:chgData name="Roman Abylkhatov" userId="2e959579-b379-4599-8299-cd2bab77a390" providerId="ADAL" clId="{56F08F62-9616-4608-B27C-604C8C9641F5}" dt="2020-10-06T20:24:47.636" v="1013" actId="14100"/>
        <pc:sldMkLst>
          <pc:docMk/>
          <pc:sldMk cId="3300356148" sldId="10222"/>
        </pc:sldMkLst>
        <pc:spChg chg="add del mod ord">
          <ac:chgData name="Roman Abylkhatov" userId="2e959579-b379-4599-8299-cd2bab77a390" providerId="ADAL" clId="{56F08F62-9616-4608-B27C-604C8C9641F5}" dt="2020-10-06T20:23:47.259" v="998" actId="700"/>
          <ac:spMkLst>
            <pc:docMk/>
            <pc:sldMk cId="3300356148" sldId="10222"/>
            <ac:spMk id="2" creationId="{4010C000-9626-4129-9124-1315AA58FEFE}"/>
          </ac:spMkLst>
        </pc:spChg>
        <pc:spChg chg="add del mod ord">
          <ac:chgData name="Roman Abylkhatov" userId="2e959579-b379-4599-8299-cd2bab77a390" providerId="ADAL" clId="{56F08F62-9616-4608-B27C-604C8C9641F5}" dt="2020-10-06T20:24:47.636" v="1013" actId="14100"/>
          <ac:spMkLst>
            <pc:docMk/>
            <pc:sldMk cId="3300356148" sldId="10222"/>
            <ac:spMk id="3" creationId="{ADAEA79F-AF79-4F22-8280-C4011C611AAA}"/>
          </ac:spMkLst>
        </pc:spChg>
        <pc:spChg chg="add del mod">
          <ac:chgData name="Roman Abylkhatov" userId="2e959579-b379-4599-8299-cd2bab77a390" providerId="ADAL" clId="{56F08F62-9616-4608-B27C-604C8C9641F5}" dt="2020-10-06T20:24:25.243" v="1007" actId="478"/>
          <ac:spMkLst>
            <pc:docMk/>
            <pc:sldMk cId="3300356148" sldId="10222"/>
            <ac:spMk id="7" creationId="{3130965E-E897-43AC-9108-CCBC8449A299}"/>
          </ac:spMkLst>
        </pc:spChg>
        <pc:spChg chg="del mod ord">
          <ac:chgData name="Roman Abylkhatov" userId="2e959579-b379-4599-8299-cd2bab77a390" providerId="ADAL" clId="{56F08F62-9616-4608-B27C-604C8C9641F5}" dt="2020-10-06T20:24:15.399" v="1005" actId="478"/>
          <ac:spMkLst>
            <pc:docMk/>
            <pc:sldMk cId="3300356148" sldId="10222"/>
            <ac:spMk id="12" creationId="{48E052C0-54A6-4E53-A82E-17201AAB42C3}"/>
          </ac:spMkLst>
        </pc:spChg>
      </pc:sldChg>
      <pc:sldMasterChg chg="delSldLayout">
        <pc:chgData name="Roman Abylkhatov" userId="2e959579-b379-4599-8299-cd2bab77a390" providerId="ADAL" clId="{56F08F62-9616-4608-B27C-604C8C9641F5}" dt="2020-10-23T05:38:44.463" v="1032" actId="2696"/>
        <pc:sldMasterMkLst>
          <pc:docMk/>
          <pc:sldMasterMk cId="993860654" sldId="2147483660"/>
        </pc:sldMasterMkLst>
        <pc:sldLayoutChg chg="del">
          <pc:chgData name="Roman Abylkhatov" userId="2e959579-b379-4599-8299-cd2bab77a390" providerId="ADAL" clId="{56F08F62-9616-4608-B27C-604C8C9641F5}" dt="2020-10-23T05:38:36.303" v="1023" actId="2696"/>
          <pc:sldLayoutMkLst>
            <pc:docMk/>
            <pc:sldMasterMk cId="993860654" sldId="2147483660"/>
            <pc:sldLayoutMk cId="1095861142" sldId="2147483661"/>
          </pc:sldLayoutMkLst>
        </pc:sldLayoutChg>
        <pc:sldLayoutChg chg="del">
          <pc:chgData name="Roman Abylkhatov" userId="2e959579-b379-4599-8299-cd2bab77a390" providerId="ADAL" clId="{56F08F62-9616-4608-B27C-604C8C9641F5}" dt="2020-10-23T05:38:38.402" v="1024" actId="2696"/>
          <pc:sldLayoutMkLst>
            <pc:docMk/>
            <pc:sldMasterMk cId="993860654" sldId="2147483660"/>
            <pc:sldLayoutMk cId="2598775765" sldId="2147483662"/>
          </pc:sldLayoutMkLst>
        </pc:sldLayoutChg>
        <pc:sldLayoutChg chg="del">
          <pc:chgData name="Roman Abylkhatov" userId="2e959579-b379-4599-8299-cd2bab77a390" providerId="ADAL" clId="{56F08F62-9616-4608-B27C-604C8C9641F5}" dt="2020-10-23T05:38:23.835" v="1018" actId="2696"/>
          <pc:sldLayoutMkLst>
            <pc:docMk/>
            <pc:sldMasterMk cId="993860654" sldId="2147483660"/>
            <pc:sldLayoutMk cId="3183520521" sldId="2147483663"/>
          </pc:sldLayoutMkLst>
        </pc:sldLayoutChg>
        <pc:sldLayoutChg chg="del">
          <pc:chgData name="Roman Abylkhatov" userId="2e959579-b379-4599-8299-cd2bab77a390" providerId="ADAL" clId="{56F08F62-9616-4608-B27C-604C8C9641F5}" dt="2020-10-23T05:38:26.825" v="1019" actId="2696"/>
          <pc:sldLayoutMkLst>
            <pc:docMk/>
            <pc:sldMasterMk cId="993860654" sldId="2147483660"/>
            <pc:sldLayoutMk cId="1521358024" sldId="2147483664"/>
          </pc:sldLayoutMkLst>
        </pc:sldLayoutChg>
        <pc:sldLayoutChg chg="del">
          <pc:chgData name="Roman Abylkhatov" userId="2e959579-b379-4599-8299-cd2bab77a390" providerId="ADAL" clId="{56F08F62-9616-4608-B27C-604C8C9641F5}" dt="2020-10-23T05:38:29.193" v="1020" actId="2696"/>
          <pc:sldLayoutMkLst>
            <pc:docMk/>
            <pc:sldMasterMk cId="993860654" sldId="2147483660"/>
            <pc:sldLayoutMk cId="1225714022" sldId="2147483665"/>
          </pc:sldLayoutMkLst>
        </pc:sldLayoutChg>
        <pc:sldLayoutChg chg="del">
          <pc:chgData name="Roman Abylkhatov" userId="2e959579-b379-4599-8299-cd2bab77a390" providerId="ADAL" clId="{56F08F62-9616-4608-B27C-604C8C9641F5}" dt="2020-10-23T05:38:21.060" v="1017" actId="2696"/>
          <pc:sldLayoutMkLst>
            <pc:docMk/>
            <pc:sldMasterMk cId="993860654" sldId="2147483660"/>
            <pc:sldLayoutMk cId="1043588750" sldId="2147483666"/>
          </pc:sldLayoutMkLst>
        </pc:sldLayoutChg>
        <pc:sldLayoutChg chg="del">
          <pc:chgData name="Roman Abylkhatov" userId="2e959579-b379-4599-8299-cd2bab77a390" providerId="ADAL" clId="{56F08F62-9616-4608-B27C-604C8C9641F5}" dt="2020-10-23T05:38:18.015" v="1016" actId="2696"/>
          <pc:sldLayoutMkLst>
            <pc:docMk/>
            <pc:sldMasterMk cId="993860654" sldId="2147483660"/>
            <pc:sldLayoutMk cId="2295730854" sldId="2147483667"/>
          </pc:sldLayoutMkLst>
        </pc:sldLayoutChg>
        <pc:sldLayoutChg chg="del">
          <pc:chgData name="Roman Abylkhatov" userId="2e959579-b379-4599-8299-cd2bab77a390" providerId="ADAL" clId="{56F08F62-9616-4608-B27C-604C8C9641F5}" dt="2020-10-23T05:38:31.899" v="1021" actId="2696"/>
          <pc:sldLayoutMkLst>
            <pc:docMk/>
            <pc:sldMasterMk cId="993860654" sldId="2147483660"/>
            <pc:sldLayoutMk cId="855540260" sldId="2147483671"/>
          </pc:sldLayoutMkLst>
        </pc:sldLayoutChg>
        <pc:sldLayoutChg chg="del">
          <pc:chgData name="Roman Abylkhatov" userId="2e959579-b379-4599-8299-cd2bab77a390" providerId="ADAL" clId="{56F08F62-9616-4608-B27C-604C8C9641F5}" dt="2020-10-23T05:38:14.873" v="1015" actId="2696"/>
          <pc:sldLayoutMkLst>
            <pc:docMk/>
            <pc:sldMasterMk cId="993860654" sldId="2147483660"/>
            <pc:sldLayoutMk cId="3942002283" sldId="2147483679"/>
          </pc:sldLayoutMkLst>
        </pc:sldLayoutChg>
        <pc:sldLayoutChg chg="del">
          <pc:chgData name="Roman Abylkhatov" userId="2e959579-b379-4599-8299-cd2bab77a390" providerId="ADAL" clId="{56F08F62-9616-4608-B27C-604C8C9641F5}" dt="2020-10-23T05:38:40.340" v="1026" actId="2696"/>
          <pc:sldLayoutMkLst>
            <pc:docMk/>
            <pc:sldMasterMk cId="993860654" sldId="2147483660"/>
            <pc:sldLayoutMk cId="942236260" sldId="2147483680"/>
          </pc:sldLayoutMkLst>
        </pc:sldLayoutChg>
        <pc:sldLayoutChg chg="del">
          <pc:chgData name="Roman Abylkhatov" userId="2e959579-b379-4599-8299-cd2bab77a390" providerId="ADAL" clId="{56F08F62-9616-4608-B27C-604C8C9641F5}" dt="2020-10-23T05:38:40.807" v="1027" actId="2696"/>
          <pc:sldLayoutMkLst>
            <pc:docMk/>
            <pc:sldMasterMk cId="993860654" sldId="2147483660"/>
            <pc:sldLayoutMk cId="130486449" sldId="2147483681"/>
          </pc:sldLayoutMkLst>
        </pc:sldLayoutChg>
        <pc:sldLayoutChg chg="del">
          <pc:chgData name="Roman Abylkhatov" userId="2e959579-b379-4599-8299-cd2bab77a390" providerId="ADAL" clId="{56F08F62-9616-4608-B27C-604C8C9641F5}" dt="2020-10-23T05:38:41.283" v="1028" actId="2696"/>
          <pc:sldLayoutMkLst>
            <pc:docMk/>
            <pc:sldMasterMk cId="993860654" sldId="2147483660"/>
            <pc:sldLayoutMk cId="2234903662" sldId="2147483682"/>
          </pc:sldLayoutMkLst>
        </pc:sldLayoutChg>
        <pc:sldLayoutChg chg="del">
          <pc:chgData name="Roman Abylkhatov" userId="2e959579-b379-4599-8299-cd2bab77a390" providerId="ADAL" clId="{56F08F62-9616-4608-B27C-604C8C9641F5}" dt="2020-10-23T05:38:41.606" v="1029" actId="2696"/>
          <pc:sldLayoutMkLst>
            <pc:docMk/>
            <pc:sldMasterMk cId="993860654" sldId="2147483660"/>
            <pc:sldLayoutMk cId="544152304" sldId="2147483683"/>
          </pc:sldLayoutMkLst>
        </pc:sldLayoutChg>
        <pc:sldLayoutChg chg="del">
          <pc:chgData name="Roman Abylkhatov" userId="2e959579-b379-4599-8299-cd2bab77a390" providerId="ADAL" clId="{56F08F62-9616-4608-B27C-604C8C9641F5}" dt="2020-10-23T05:38:42.621" v="1030" actId="2696"/>
          <pc:sldLayoutMkLst>
            <pc:docMk/>
            <pc:sldMasterMk cId="993860654" sldId="2147483660"/>
            <pc:sldLayoutMk cId="444704530" sldId="2147483684"/>
          </pc:sldLayoutMkLst>
        </pc:sldLayoutChg>
        <pc:sldLayoutChg chg="del">
          <pc:chgData name="Roman Abylkhatov" userId="2e959579-b379-4599-8299-cd2bab77a390" providerId="ADAL" clId="{56F08F62-9616-4608-B27C-604C8C9641F5}" dt="2020-10-23T05:38:43.747" v="1031" actId="2696"/>
          <pc:sldLayoutMkLst>
            <pc:docMk/>
            <pc:sldMasterMk cId="993860654" sldId="2147483660"/>
            <pc:sldLayoutMk cId="2268978664" sldId="2147483685"/>
          </pc:sldLayoutMkLst>
        </pc:sldLayoutChg>
        <pc:sldLayoutChg chg="del">
          <pc:chgData name="Roman Abylkhatov" userId="2e959579-b379-4599-8299-cd2bab77a390" providerId="ADAL" clId="{56F08F62-9616-4608-B27C-604C8C9641F5}" dt="2020-10-23T05:38:44.463" v="1032" actId="2696"/>
          <pc:sldLayoutMkLst>
            <pc:docMk/>
            <pc:sldMasterMk cId="993860654" sldId="2147483660"/>
            <pc:sldLayoutMk cId="3241177136" sldId="2147483686"/>
          </pc:sldLayoutMkLst>
        </pc:sldLayoutChg>
        <pc:sldLayoutChg chg="del">
          <pc:chgData name="Roman Abylkhatov" userId="2e959579-b379-4599-8299-cd2bab77a390" providerId="ADAL" clId="{56F08F62-9616-4608-B27C-604C8C9641F5}" dt="2020-10-23T05:38:39.688" v="1025" actId="2696"/>
          <pc:sldLayoutMkLst>
            <pc:docMk/>
            <pc:sldMasterMk cId="993860654" sldId="2147483660"/>
            <pc:sldLayoutMk cId="3523634492" sldId="2147483696"/>
          </pc:sldLayoutMkLst>
        </pc:sldLayoutChg>
        <pc:sldLayoutChg chg="del">
          <pc:chgData name="Roman Abylkhatov" userId="2e959579-b379-4599-8299-cd2bab77a390" providerId="ADAL" clId="{56F08F62-9616-4608-B27C-604C8C9641F5}" dt="2020-10-23T05:38:34.085" v="1022" actId="2696"/>
          <pc:sldLayoutMkLst>
            <pc:docMk/>
            <pc:sldMasterMk cId="993860654" sldId="2147483660"/>
            <pc:sldLayoutMk cId="4197639878" sldId="2147483706"/>
          </pc:sldLayoutMkLst>
        </pc:sldLayoutChg>
      </pc:sldMasterChg>
    </pc:docChg>
  </pc:docChgLst>
  <pc:docChgLst>
    <pc:chgData name="Jibran Sayed Mohammed" userId="26e67e77-029a-4089-82c2-bbcd1f331771" providerId="ADAL" clId="{2365D864-B540-4A76-A517-86B705BB6D46}"/>
    <pc:docChg chg="modSld sldOrd">
      <pc:chgData name="Jibran Sayed Mohammed" userId="26e67e77-029a-4089-82c2-bbcd1f331771" providerId="ADAL" clId="{2365D864-B540-4A76-A517-86B705BB6D46}" dt="2020-03-10T13:56:38.883" v="1"/>
      <pc:docMkLst>
        <pc:docMk/>
      </pc:docMkLst>
      <pc:sldChg chg="ord">
        <pc:chgData name="Jibran Sayed Mohammed" userId="26e67e77-029a-4089-82c2-bbcd1f331771" providerId="ADAL" clId="{2365D864-B540-4A76-A517-86B705BB6D46}" dt="2020-03-10T13:56:38.883" v="1"/>
        <pc:sldMkLst>
          <pc:docMk/>
          <pc:sldMk cId="4193158485" sldId="1742"/>
        </pc:sldMkLst>
      </pc:sldChg>
    </pc:docChg>
  </pc:docChgLst>
  <pc:docChgLst>
    <pc:chgData name="Danielle Aronson" userId="d876df35-f8b5-4e2a-802a-50d87828d0e8" providerId="ADAL" clId="{69C5A2C8-7EE5-4412-BEAD-14E7B6B727BD}"/>
    <pc:docChg chg="custSel addSld modSld sldOrd modSection">
      <pc:chgData name="Danielle Aronson" userId="d876df35-f8b5-4e2a-802a-50d87828d0e8" providerId="ADAL" clId="{69C5A2C8-7EE5-4412-BEAD-14E7B6B727BD}" dt="2020-04-22T14:33:05.273" v="599" actId="1076"/>
      <pc:docMkLst>
        <pc:docMk/>
      </pc:docMkLst>
      <pc:sldChg chg="modSp mod">
        <pc:chgData name="Danielle Aronson" userId="d876df35-f8b5-4e2a-802a-50d87828d0e8" providerId="ADAL" clId="{69C5A2C8-7EE5-4412-BEAD-14E7B6B727BD}" dt="2020-04-22T14:33:05.273" v="599" actId="1076"/>
        <pc:sldMkLst>
          <pc:docMk/>
          <pc:sldMk cId="1025530479" sldId="1802"/>
        </pc:sldMkLst>
        <pc:spChg chg="mod">
          <ac:chgData name="Danielle Aronson" userId="d876df35-f8b5-4e2a-802a-50d87828d0e8" providerId="ADAL" clId="{69C5A2C8-7EE5-4412-BEAD-14E7B6B727BD}" dt="2020-04-22T14:33:05.273" v="599" actId="1076"/>
          <ac:spMkLst>
            <pc:docMk/>
            <pc:sldMk cId="1025530479" sldId="1802"/>
            <ac:spMk id="47" creationId="{7EC063F3-53DE-4027-8198-EB878597C8FF}"/>
          </ac:spMkLst>
        </pc:spChg>
        <pc:spChg chg="mod">
          <ac:chgData name="Danielle Aronson" userId="d876df35-f8b5-4e2a-802a-50d87828d0e8" providerId="ADAL" clId="{69C5A2C8-7EE5-4412-BEAD-14E7B6B727BD}" dt="2020-04-22T14:32:47.117" v="596" actId="14100"/>
          <ac:spMkLst>
            <pc:docMk/>
            <pc:sldMk cId="1025530479" sldId="1802"/>
            <ac:spMk id="57" creationId="{F52268D3-721B-4FAE-B3FE-D1CB6E297B9E}"/>
          </ac:spMkLst>
        </pc:spChg>
        <pc:spChg chg="mod">
          <ac:chgData name="Danielle Aronson" userId="d876df35-f8b5-4e2a-802a-50d87828d0e8" providerId="ADAL" clId="{69C5A2C8-7EE5-4412-BEAD-14E7B6B727BD}" dt="2020-04-22T14:32:43.312" v="595" actId="14100"/>
          <ac:spMkLst>
            <pc:docMk/>
            <pc:sldMk cId="1025530479" sldId="1802"/>
            <ac:spMk id="58" creationId="{BC8526D7-A32D-45E8-BFE1-3E39FB750699}"/>
          </ac:spMkLst>
        </pc:spChg>
        <pc:grpChg chg="mod">
          <ac:chgData name="Danielle Aronson" userId="d876df35-f8b5-4e2a-802a-50d87828d0e8" providerId="ADAL" clId="{69C5A2C8-7EE5-4412-BEAD-14E7B6B727BD}" dt="2020-04-22T14:32:32.578" v="594" actId="1076"/>
          <ac:grpSpMkLst>
            <pc:docMk/>
            <pc:sldMk cId="1025530479" sldId="1802"/>
            <ac:grpSpMk id="48" creationId="{DCB87C67-8A7F-47E9-AE93-3CB1629493FD}"/>
          </ac:grpSpMkLst>
        </pc:grpChg>
        <pc:cxnChg chg="mod">
          <ac:chgData name="Danielle Aronson" userId="d876df35-f8b5-4e2a-802a-50d87828d0e8" providerId="ADAL" clId="{69C5A2C8-7EE5-4412-BEAD-14E7B6B727BD}" dt="2020-04-22T14:32:20.750" v="592" actId="1076"/>
          <ac:cxnSpMkLst>
            <pc:docMk/>
            <pc:sldMk cId="1025530479" sldId="1802"/>
            <ac:cxnSpMk id="31" creationId="{6A8A19AD-970A-4571-8D10-2277B1C25273}"/>
          </ac:cxnSpMkLst>
        </pc:cxnChg>
      </pc:sldChg>
      <pc:sldChg chg="modSp mod">
        <pc:chgData name="Danielle Aronson" userId="d876df35-f8b5-4e2a-802a-50d87828d0e8" providerId="ADAL" clId="{69C5A2C8-7EE5-4412-BEAD-14E7B6B727BD}" dt="2020-04-22T14:30:44.016" v="590" actId="20577"/>
        <pc:sldMkLst>
          <pc:docMk/>
          <pc:sldMk cId="1980614029" sldId="1803"/>
        </pc:sldMkLst>
        <pc:spChg chg="mod">
          <ac:chgData name="Danielle Aronson" userId="d876df35-f8b5-4e2a-802a-50d87828d0e8" providerId="ADAL" clId="{69C5A2C8-7EE5-4412-BEAD-14E7B6B727BD}" dt="2020-04-22T14:28:50.282" v="480" actId="20577"/>
          <ac:spMkLst>
            <pc:docMk/>
            <pc:sldMk cId="1980614029" sldId="1803"/>
            <ac:spMk id="76" creationId="{51FB5F30-137A-4E59-8CCD-DC1143586705}"/>
          </ac:spMkLst>
        </pc:spChg>
        <pc:spChg chg="mod">
          <ac:chgData name="Danielle Aronson" userId="d876df35-f8b5-4e2a-802a-50d87828d0e8" providerId="ADAL" clId="{69C5A2C8-7EE5-4412-BEAD-14E7B6B727BD}" dt="2020-04-22T14:29:13.588" v="503" actId="20577"/>
          <ac:spMkLst>
            <pc:docMk/>
            <pc:sldMk cId="1980614029" sldId="1803"/>
            <ac:spMk id="80" creationId="{413161F1-F2CA-4F34-9BFF-CD3F2B4EEC5E}"/>
          </ac:spMkLst>
        </pc:spChg>
        <pc:spChg chg="mod">
          <ac:chgData name="Danielle Aronson" userId="d876df35-f8b5-4e2a-802a-50d87828d0e8" providerId="ADAL" clId="{69C5A2C8-7EE5-4412-BEAD-14E7B6B727BD}" dt="2020-04-22T14:30:44.016" v="590" actId="20577"/>
          <ac:spMkLst>
            <pc:docMk/>
            <pc:sldMk cId="1980614029" sldId="1803"/>
            <ac:spMk id="88" creationId="{7352E7A9-D089-4433-BBAE-11F68C270F82}"/>
          </ac:spMkLst>
        </pc:spChg>
        <pc:spChg chg="mod">
          <ac:chgData name="Danielle Aronson" userId="d876df35-f8b5-4e2a-802a-50d87828d0e8" providerId="ADAL" clId="{69C5A2C8-7EE5-4412-BEAD-14E7B6B727BD}" dt="2020-04-22T14:29:22.388" v="518" actId="20577"/>
          <ac:spMkLst>
            <pc:docMk/>
            <pc:sldMk cId="1980614029" sldId="1803"/>
            <ac:spMk id="100" creationId="{D5F23F49-7EF8-461E-9AC8-C6E3A7DA42EF}"/>
          </ac:spMkLst>
        </pc:spChg>
      </pc:sldChg>
      <pc:sldChg chg="addSp mod">
        <pc:chgData name="Danielle Aronson" userId="d876df35-f8b5-4e2a-802a-50d87828d0e8" providerId="ADAL" clId="{69C5A2C8-7EE5-4412-BEAD-14E7B6B727BD}" dt="2020-04-22T14:14:53.241" v="0" actId="22"/>
        <pc:sldMkLst>
          <pc:docMk/>
          <pc:sldMk cId="2809728893" sldId="10219"/>
        </pc:sldMkLst>
        <pc:spChg chg="add">
          <ac:chgData name="Danielle Aronson" userId="d876df35-f8b5-4e2a-802a-50d87828d0e8" providerId="ADAL" clId="{69C5A2C8-7EE5-4412-BEAD-14E7B6B727BD}" dt="2020-04-22T14:14:53.241" v="0" actId="22"/>
          <ac:spMkLst>
            <pc:docMk/>
            <pc:sldMk cId="2809728893" sldId="10219"/>
            <ac:spMk id="8" creationId="{241489BE-C426-4782-A327-915BB59915A0}"/>
          </ac:spMkLst>
        </pc:spChg>
      </pc:sldChg>
      <pc:sldChg chg="addSp modSp new mod ord modShow">
        <pc:chgData name="Danielle Aronson" userId="d876df35-f8b5-4e2a-802a-50d87828d0e8" providerId="ADAL" clId="{69C5A2C8-7EE5-4412-BEAD-14E7B6B727BD}" dt="2020-04-22T14:21:51.681" v="460" actId="6549"/>
        <pc:sldMkLst>
          <pc:docMk/>
          <pc:sldMk cId="3035781452" sldId="10221"/>
        </pc:sldMkLst>
        <pc:spChg chg="mod">
          <ac:chgData name="Danielle Aronson" userId="d876df35-f8b5-4e2a-802a-50d87828d0e8" providerId="ADAL" clId="{69C5A2C8-7EE5-4412-BEAD-14E7B6B727BD}" dt="2020-04-22T14:16:12.472" v="21" actId="20577"/>
          <ac:spMkLst>
            <pc:docMk/>
            <pc:sldMk cId="3035781452" sldId="10221"/>
            <ac:spMk id="2" creationId="{96B559A6-964B-420D-9F6A-97DC922E0218}"/>
          </ac:spMkLst>
        </pc:spChg>
        <pc:spChg chg="add mod">
          <ac:chgData name="Danielle Aronson" userId="d876df35-f8b5-4e2a-802a-50d87828d0e8" providerId="ADAL" clId="{69C5A2C8-7EE5-4412-BEAD-14E7B6B727BD}" dt="2020-04-22T14:21:51.681" v="460" actId="6549"/>
          <ac:spMkLst>
            <pc:docMk/>
            <pc:sldMk cId="3035781452" sldId="10221"/>
            <ac:spMk id="4" creationId="{7B289864-AC7F-48A9-B47C-0A085782E9CE}"/>
          </ac:spMkLst>
        </pc:spChg>
      </pc:sldChg>
      <pc:sldChg chg="addSp delSp modSp add mod">
        <pc:chgData name="Danielle Aronson" userId="d876df35-f8b5-4e2a-802a-50d87828d0e8" providerId="ADAL" clId="{69C5A2C8-7EE5-4412-BEAD-14E7B6B727BD}" dt="2020-04-22T14:20:36.016" v="437" actId="207"/>
        <pc:sldMkLst>
          <pc:docMk/>
          <pc:sldMk cId="3594944986" sldId="10222"/>
        </pc:sldMkLst>
        <pc:spChg chg="add mod">
          <ac:chgData name="Danielle Aronson" userId="d876df35-f8b5-4e2a-802a-50d87828d0e8" providerId="ADAL" clId="{69C5A2C8-7EE5-4412-BEAD-14E7B6B727BD}" dt="2020-04-22T14:20:36.016" v="437" actId="207"/>
          <ac:spMkLst>
            <pc:docMk/>
            <pc:sldMk cId="3594944986" sldId="10222"/>
            <ac:spMk id="3" creationId="{B70F2D08-7B38-4A9D-9520-4E95B51E9F3A}"/>
          </ac:spMkLst>
        </pc:spChg>
        <pc:spChg chg="del">
          <ac:chgData name="Danielle Aronson" userId="d876df35-f8b5-4e2a-802a-50d87828d0e8" providerId="ADAL" clId="{69C5A2C8-7EE5-4412-BEAD-14E7B6B727BD}" dt="2020-04-22T14:19:44.062" v="337" actId="478"/>
          <ac:spMkLst>
            <pc:docMk/>
            <pc:sldMk cId="3594944986" sldId="10222"/>
            <ac:spMk id="49" creationId="{ABE69A0C-BF05-431B-81D0-A9F03EA03E9D}"/>
          </ac:spMkLst>
        </pc:spChg>
        <pc:spChg chg="del">
          <ac:chgData name="Danielle Aronson" userId="d876df35-f8b5-4e2a-802a-50d87828d0e8" providerId="ADAL" clId="{69C5A2C8-7EE5-4412-BEAD-14E7B6B727BD}" dt="2020-04-22T14:19:44.062" v="337" actId="478"/>
          <ac:spMkLst>
            <pc:docMk/>
            <pc:sldMk cId="3594944986" sldId="10222"/>
            <ac:spMk id="57" creationId="{0818ABEE-2A99-4A4B-89BE-6324E84E9AE7}"/>
          </ac:spMkLst>
        </pc:spChg>
        <pc:spChg chg="del">
          <ac:chgData name="Danielle Aronson" userId="d876df35-f8b5-4e2a-802a-50d87828d0e8" providerId="ADAL" clId="{69C5A2C8-7EE5-4412-BEAD-14E7B6B727BD}" dt="2020-04-22T14:19:44.062" v="337" actId="478"/>
          <ac:spMkLst>
            <pc:docMk/>
            <pc:sldMk cId="3594944986" sldId="10222"/>
            <ac:spMk id="59" creationId="{18A9530C-4319-41D9-AEB7-6742958400F6}"/>
          </ac:spMkLst>
        </pc:spChg>
        <pc:spChg chg="del">
          <ac:chgData name="Danielle Aronson" userId="d876df35-f8b5-4e2a-802a-50d87828d0e8" providerId="ADAL" clId="{69C5A2C8-7EE5-4412-BEAD-14E7B6B727BD}" dt="2020-04-22T14:19:44.062" v="337" actId="478"/>
          <ac:spMkLst>
            <pc:docMk/>
            <pc:sldMk cId="3594944986" sldId="10222"/>
            <ac:spMk id="60" creationId="{F1333D46-E8C1-4812-8E97-3DAE1EE74A69}"/>
          </ac:spMkLst>
        </pc:spChg>
        <pc:spChg chg="del">
          <ac:chgData name="Danielle Aronson" userId="d876df35-f8b5-4e2a-802a-50d87828d0e8" providerId="ADAL" clId="{69C5A2C8-7EE5-4412-BEAD-14E7B6B727BD}" dt="2020-04-22T14:19:44.062" v="337" actId="478"/>
          <ac:spMkLst>
            <pc:docMk/>
            <pc:sldMk cId="3594944986" sldId="10222"/>
            <ac:spMk id="61" creationId="{481955F1-5E8E-476D-88FC-540BFD390395}"/>
          </ac:spMkLst>
        </pc:spChg>
        <pc:spChg chg="del">
          <ac:chgData name="Danielle Aronson" userId="d876df35-f8b5-4e2a-802a-50d87828d0e8" providerId="ADAL" clId="{69C5A2C8-7EE5-4412-BEAD-14E7B6B727BD}" dt="2020-04-22T14:19:44.062" v="337" actId="478"/>
          <ac:spMkLst>
            <pc:docMk/>
            <pc:sldMk cId="3594944986" sldId="10222"/>
            <ac:spMk id="63" creationId="{F540FE97-0D16-4420-AC38-6A51F2B4ECAD}"/>
          </ac:spMkLst>
        </pc:spChg>
        <pc:spChg chg="del">
          <ac:chgData name="Danielle Aronson" userId="d876df35-f8b5-4e2a-802a-50d87828d0e8" providerId="ADAL" clId="{69C5A2C8-7EE5-4412-BEAD-14E7B6B727BD}" dt="2020-04-22T14:19:44.062" v="337" actId="478"/>
          <ac:spMkLst>
            <pc:docMk/>
            <pc:sldMk cId="3594944986" sldId="10222"/>
            <ac:spMk id="64" creationId="{56281920-DFD4-4AD9-A9AA-BB9F3C2B5E60}"/>
          </ac:spMkLst>
        </pc:spChg>
        <pc:spChg chg="del">
          <ac:chgData name="Danielle Aronson" userId="d876df35-f8b5-4e2a-802a-50d87828d0e8" providerId="ADAL" clId="{69C5A2C8-7EE5-4412-BEAD-14E7B6B727BD}" dt="2020-04-22T14:19:44.062" v="337" actId="478"/>
          <ac:spMkLst>
            <pc:docMk/>
            <pc:sldMk cId="3594944986" sldId="10222"/>
            <ac:spMk id="74" creationId="{2E539D98-7F91-4084-8F1C-B9CBBEEB2A2D}"/>
          </ac:spMkLst>
        </pc:spChg>
        <pc:spChg chg="del">
          <ac:chgData name="Danielle Aronson" userId="d876df35-f8b5-4e2a-802a-50d87828d0e8" providerId="ADAL" clId="{69C5A2C8-7EE5-4412-BEAD-14E7B6B727BD}" dt="2020-04-22T14:19:44.062" v="337" actId="478"/>
          <ac:spMkLst>
            <pc:docMk/>
            <pc:sldMk cId="3594944986" sldId="10222"/>
            <ac:spMk id="76" creationId="{534D70B5-FE8F-4777-BC73-11E562C9E01F}"/>
          </ac:spMkLst>
        </pc:spChg>
        <pc:spChg chg="del">
          <ac:chgData name="Danielle Aronson" userId="d876df35-f8b5-4e2a-802a-50d87828d0e8" providerId="ADAL" clId="{69C5A2C8-7EE5-4412-BEAD-14E7B6B727BD}" dt="2020-04-22T14:19:44.062" v="337" actId="478"/>
          <ac:spMkLst>
            <pc:docMk/>
            <pc:sldMk cId="3594944986" sldId="10222"/>
            <ac:spMk id="79" creationId="{7E0F6DF2-070C-4755-A8E1-DB0D2A53F454}"/>
          </ac:spMkLst>
        </pc:spChg>
        <pc:spChg chg="del">
          <ac:chgData name="Danielle Aronson" userId="d876df35-f8b5-4e2a-802a-50d87828d0e8" providerId="ADAL" clId="{69C5A2C8-7EE5-4412-BEAD-14E7B6B727BD}" dt="2020-04-22T14:19:44.062" v="337" actId="478"/>
          <ac:spMkLst>
            <pc:docMk/>
            <pc:sldMk cId="3594944986" sldId="10222"/>
            <ac:spMk id="80" creationId="{00E91236-5F9F-4F21-A4CA-7F2995421485}"/>
          </ac:spMkLst>
        </pc:spChg>
        <pc:spChg chg="del">
          <ac:chgData name="Danielle Aronson" userId="d876df35-f8b5-4e2a-802a-50d87828d0e8" providerId="ADAL" clId="{69C5A2C8-7EE5-4412-BEAD-14E7B6B727BD}" dt="2020-04-22T14:19:44.062" v="337" actId="478"/>
          <ac:spMkLst>
            <pc:docMk/>
            <pc:sldMk cId="3594944986" sldId="10222"/>
            <ac:spMk id="81" creationId="{250AF44D-0E46-4276-BD14-D860C8898902}"/>
          </ac:spMkLst>
        </pc:spChg>
        <pc:grpChg chg="del">
          <ac:chgData name="Danielle Aronson" userId="d876df35-f8b5-4e2a-802a-50d87828d0e8" providerId="ADAL" clId="{69C5A2C8-7EE5-4412-BEAD-14E7B6B727BD}" dt="2020-04-22T14:19:44.062" v="337" actId="478"/>
          <ac:grpSpMkLst>
            <pc:docMk/>
            <pc:sldMk cId="3594944986" sldId="10222"/>
            <ac:grpSpMk id="15" creationId="{D2F74712-DC19-4CA0-8812-D5E5596EC803}"/>
          </ac:grpSpMkLst>
        </pc:grpChg>
        <pc:grpChg chg="del">
          <ac:chgData name="Danielle Aronson" userId="d876df35-f8b5-4e2a-802a-50d87828d0e8" providerId="ADAL" clId="{69C5A2C8-7EE5-4412-BEAD-14E7B6B727BD}" dt="2020-04-22T14:19:44.062" v="337" actId="478"/>
          <ac:grpSpMkLst>
            <pc:docMk/>
            <pc:sldMk cId="3594944986" sldId="10222"/>
            <ac:grpSpMk id="16" creationId="{8AA17D0D-A9A4-4E91-9628-C33110CFCFAD}"/>
          </ac:grpSpMkLst>
        </pc:grpChg>
        <pc:grpChg chg="del">
          <ac:chgData name="Danielle Aronson" userId="d876df35-f8b5-4e2a-802a-50d87828d0e8" providerId="ADAL" clId="{69C5A2C8-7EE5-4412-BEAD-14E7B6B727BD}" dt="2020-04-22T14:19:44.062" v="337" actId="478"/>
          <ac:grpSpMkLst>
            <pc:docMk/>
            <pc:sldMk cId="3594944986" sldId="10222"/>
            <ac:grpSpMk id="50" creationId="{B01B89F4-0658-4AC6-AAEC-851174C2226E}"/>
          </ac:grpSpMkLst>
        </pc:grpChg>
        <pc:cxnChg chg="del">
          <ac:chgData name="Danielle Aronson" userId="d876df35-f8b5-4e2a-802a-50d87828d0e8" providerId="ADAL" clId="{69C5A2C8-7EE5-4412-BEAD-14E7B6B727BD}" dt="2020-04-22T14:19:44.062" v="337" actId="478"/>
          <ac:cxnSpMkLst>
            <pc:docMk/>
            <pc:sldMk cId="3594944986" sldId="10222"/>
            <ac:cxnSpMk id="34" creationId="{F9484785-0F14-46AD-9F9C-CBB71A4B3F2B}"/>
          </ac:cxnSpMkLst>
        </pc:cxnChg>
        <pc:cxnChg chg="del">
          <ac:chgData name="Danielle Aronson" userId="d876df35-f8b5-4e2a-802a-50d87828d0e8" providerId="ADAL" clId="{69C5A2C8-7EE5-4412-BEAD-14E7B6B727BD}" dt="2020-04-22T14:19:44.062" v="337" actId="478"/>
          <ac:cxnSpMkLst>
            <pc:docMk/>
            <pc:sldMk cId="3594944986" sldId="10222"/>
            <ac:cxnSpMk id="35" creationId="{F19A3573-0AF1-4C7D-AB7F-FD6259474020}"/>
          </ac:cxnSpMkLst>
        </pc:cxnChg>
        <pc:cxnChg chg="del">
          <ac:chgData name="Danielle Aronson" userId="d876df35-f8b5-4e2a-802a-50d87828d0e8" providerId="ADAL" clId="{69C5A2C8-7EE5-4412-BEAD-14E7B6B727BD}" dt="2020-04-22T14:19:44.062" v="337" actId="478"/>
          <ac:cxnSpMkLst>
            <pc:docMk/>
            <pc:sldMk cId="3594944986" sldId="10222"/>
            <ac:cxnSpMk id="36" creationId="{C6CE09FB-3078-4216-843F-EE49D08A6C75}"/>
          </ac:cxnSpMkLst>
        </pc:cxnChg>
        <pc:cxnChg chg="del">
          <ac:chgData name="Danielle Aronson" userId="d876df35-f8b5-4e2a-802a-50d87828d0e8" providerId="ADAL" clId="{69C5A2C8-7EE5-4412-BEAD-14E7B6B727BD}" dt="2020-04-22T14:19:44.062" v="337" actId="478"/>
          <ac:cxnSpMkLst>
            <pc:docMk/>
            <pc:sldMk cId="3594944986" sldId="10222"/>
            <ac:cxnSpMk id="47" creationId="{C4D16116-9093-42ED-882F-BE89106F0824}"/>
          </ac:cxnSpMkLst>
        </pc:cxnChg>
      </pc:sldChg>
    </pc:docChg>
  </pc:docChgLst>
  <pc:docChgLst>
    <pc:chgData name="Timo Gossen" userId="4ec7f864-84f7-407f-b8f9-5c31d0de0089" providerId="ADAL" clId="{571CDA5C-BF26-48DF-9431-1F0E911D99DD}"/>
    <pc:docChg chg="undo redo custSel addSld delSld modSld sldOrd addMainMaster delMainMaster modMainMaster modSection">
      <pc:chgData name="Timo Gossen" userId="4ec7f864-84f7-407f-b8f9-5c31d0de0089" providerId="ADAL" clId="{571CDA5C-BF26-48DF-9431-1F0E911D99DD}" dt="2020-08-12T15:36:56.440" v="334" actId="47"/>
      <pc:docMkLst>
        <pc:docMk/>
      </pc:docMkLst>
      <pc:sldChg chg="modSp del mod modClrScheme chgLayout">
        <pc:chgData name="Timo Gossen" userId="4ec7f864-84f7-407f-b8f9-5c31d0de0089" providerId="ADAL" clId="{571CDA5C-BF26-48DF-9431-1F0E911D99DD}" dt="2020-08-12T15:36:56.440" v="334" actId="47"/>
        <pc:sldMkLst>
          <pc:docMk/>
          <pc:sldMk cId="3595080800" sldId="3128"/>
        </pc:sldMkLst>
        <pc:spChg chg="mod ord">
          <ac:chgData name="Timo Gossen" userId="4ec7f864-84f7-407f-b8f9-5c31d0de0089" providerId="ADAL" clId="{571CDA5C-BF26-48DF-9431-1F0E911D99DD}" dt="2020-08-12T15:34:40.134" v="325" actId="700"/>
          <ac:spMkLst>
            <pc:docMk/>
            <pc:sldMk cId="3595080800" sldId="3128"/>
            <ac:spMk id="2" creationId="{3D2FBC0D-DE8D-4835-81AF-E0530F5D8C22}"/>
          </ac:spMkLst>
        </pc:spChg>
        <pc:spChg chg="mod ord">
          <ac:chgData name="Timo Gossen" userId="4ec7f864-84f7-407f-b8f9-5c31d0de0089" providerId="ADAL" clId="{571CDA5C-BF26-48DF-9431-1F0E911D99DD}" dt="2020-08-12T15:34:40.134" v="325" actId="700"/>
          <ac:spMkLst>
            <pc:docMk/>
            <pc:sldMk cId="3595080800" sldId="3128"/>
            <ac:spMk id="3" creationId="{58A57B2E-0349-4635-A050-A1A992C931BE}"/>
          </ac:spMkLst>
        </pc:spChg>
      </pc:sldChg>
      <pc:sldChg chg="new del">
        <pc:chgData name="Timo Gossen" userId="4ec7f864-84f7-407f-b8f9-5c31d0de0089" providerId="ADAL" clId="{571CDA5C-BF26-48DF-9431-1F0E911D99DD}" dt="2020-08-12T15:27:46.061" v="200" actId="47"/>
        <pc:sldMkLst>
          <pc:docMk/>
          <pc:sldMk cId="1163603389" sldId="10222"/>
        </pc:sldMkLst>
      </pc:sldChg>
      <pc:sldChg chg="new del">
        <pc:chgData name="Timo Gossen" userId="4ec7f864-84f7-407f-b8f9-5c31d0de0089" providerId="ADAL" clId="{571CDA5C-BF26-48DF-9431-1F0E911D99DD}" dt="2020-08-12T15:23:56.115" v="114" actId="680"/>
        <pc:sldMkLst>
          <pc:docMk/>
          <pc:sldMk cId="1676232571" sldId="10222"/>
        </pc:sldMkLst>
      </pc:sldChg>
      <pc:sldChg chg="modSp new del mod">
        <pc:chgData name="Timo Gossen" userId="4ec7f864-84f7-407f-b8f9-5c31d0de0089" providerId="ADAL" clId="{571CDA5C-BF26-48DF-9431-1F0E911D99DD}" dt="2020-08-12T15:33:22.183" v="323" actId="47"/>
        <pc:sldMkLst>
          <pc:docMk/>
          <pc:sldMk cId="2826786475" sldId="10222"/>
        </pc:sldMkLst>
        <pc:spChg chg="mod">
          <ac:chgData name="Timo Gossen" userId="4ec7f864-84f7-407f-b8f9-5c31d0de0089" providerId="ADAL" clId="{571CDA5C-BF26-48DF-9431-1F0E911D99DD}" dt="2020-08-12T15:32:26.293" v="318" actId="20577"/>
          <ac:spMkLst>
            <pc:docMk/>
            <pc:sldMk cId="2826786475" sldId="10222"/>
            <ac:spMk id="2" creationId="{C6E666C4-11F0-43E8-AA0B-70EFAB41DB33}"/>
          </ac:spMkLst>
        </pc:spChg>
        <pc:spChg chg="mod">
          <ac:chgData name="Timo Gossen" userId="4ec7f864-84f7-407f-b8f9-5c31d0de0089" providerId="ADAL" clId="{571CDA5C-BF26-48DF-9431-1F0E911D99DD}" dt="2020-08-12T15:32:22.691" v="306" actId="20577"/>
          <ac:spMkLst>
            <pc:docMk/>
            <pc:sldMk cId="2826786475" sldId="10222"/>
            <ac:spMk id="3" creationId="{56FE78D7-A71E-4A0E-8ADB-0D3E67663262}"/>
          </ac:spMkLst>
        </pc:spChg>
      </pc:sldChg>
      <pc:sldChg chg="modSp new del mod">
        <pc:chgData name="Timo Gossen" userId="4ec7f864-84f7-407f-b8f9-5c31d0de0089" providerId="ADAL" clId="{571CDA5C-BF26-48DF-9431-1F0E911D99DD}" dt="2020-08-12T15:30:02.199" v="235" actId="680"/>
        <pc:sldMkLst>
          <pc:docMk/>
          <pc:sldMk cId="3035936588" sldId="10222"/>
        </pc:sldMkLst>
        <pc:spChg chg="mod">
          <ac:chgData name="Timo Gossen" userId="4ec7f864-84f7-407f-b8f9-5c31d0de0089" providerId="ADAL" clId="{571CDA5C-BF26-48DF-9431-1F0E911D99DD}" dt="2020-08-12T15:30:01.552" v="234" actId="20577"/>
          <ac:spMkLst>
            <pc:docMk/>
            <pc:sldMk cId="3035936588" sldId="10222"/>
            <ac:spMk id="2" creationId="{26033C49-D262-4190-8CFB-FFE95BAE97E1}"/>
          </ac:spMkLst>
        </pc:spChg>
      </pc:sldChg>
      <pc:sldChg chg="addSp delSp modSp add mod modClrScheme chgLayout">
        <pc:chgData name="Timo Gossen" userId="4ec7f864-84f7-407f-b8f9-5c31d0de0089" providerId="ADAL" clId="{571CDA5C-BF26-48DF-9431-1F0E911D99DD}" dt="2020-08-12T15:36:32.338" v="333" actId="6549"/>
        <pc:sldMkLst>
          <pc:docMk/>
          <pc:sldMk cId="3300356148" sldId="10222"/>
        </pc:sldMkLst>
        <pc:spChg chg="del mod ord">
          <ac:chgData name="Timo Gossen" userId="4ec7f864-84f7-407f-b8f9-5c31d0de0089" providerId="ADAL" clId="{571CDA5C-BF26-48DF-9431-1F0E911D99DD}" dt="2020-08-12T15:35:09.867" v="329" actId="478"/>
          <ac:spMkLst>
            <pc:docMk/>
            <pc:sldMk cId="3300356148" sldId="10222"/>
            <ac:spMk id="2" creationId="{3D2FBC0D-DE8D-4835-81AF-E0530F5D8C22}"/>
          </ac:spMkLst>
        </pc:spChg>
        <pc:spChg chg="del mod ord">
          <ac:chgData name="Timo Gossen" userId="4ec7f864-84f7-407f-b8f9-5c31d0de0089" providerId="ADAL" clId="{571CDA5C-BF26-48DF-9431-1F0E911D99DD}" dt="2020-08-12T15:35:01.062" v="328" actId="478"/>
          <ac:spMkLst>
            <pc:docMk/>
            <pc:sldMk cId="3300356148" sldId="10222"/>
            <ac:spMk id="3" creationId="{58A57B2E-0349-4635-A050-A1A992C931BE}"/>
          </ac:spMkLst>
        </pc:spChg>
        <pc:spChg chg="add del mod">
          <ac:chgData name="Timo Gossen" userId="4ec7f864-84f7-407f-b8f9-5c31d0de0089" providerId="ADAL" clId="{571CDA5C-BF26-48DF-9431-1F0E911D99DD}" dt="2020-08-12T15:35:09.867" v="329" actId="478"/>
          <ac:spMkLst>
            <pc:docMk/>
            <pc:sldMk cId="3300356148" sldId="10222"/>
            <ac:spMk id="7" creationId="{0D14511B-56AF-4331-A1F7-D4B5DB9F5CD6}"/>
          </ac:spMkLst>
        </pc:spChg>
        <pc:spChg chg="del">
          <ac:chgData name="Timo Gossen" userId="4ec7f864-84f7-407f-b8f9-5c31d0de0089" providerId="ADAL" clId="{571CDA5C-BF26-48DF-9431-1F0E911D99DD}" dt="2020-08-12T15:35:09.867" v="329" actId="478"/>
          <ac:spMkLst>
            <pc:docMk/>
            <pc:sldMk cId="3300356148" sldId="10222"/>
            <ac:spMk id="8" creationId="{EF71901D-08E6-456A-B179-0974743D7981}"/>
          </ac:spMkLst>
        </pc:spChg>
        <pc:spChg chg="add del mod">
          <ac:chgData name="Timo Gossen" userId="4ec7f864-84f7-407f-b8f9-5c31d0de0089" providerId="ADAL" clId="{571CDA5C-BF26-48DF-9431-1F0E911D99DD}" dt="2020-08-12T15:35:34.020" v="331" actId="478"/>
          <ac:spMkLst>
            <pc:docMk/>
            <pc:sldMk cId="3300356148" sldId="10222"/>
            <ac:spMk id="10" creationId="{9F73419B-6863-48A9-A189-F6F8CB489940}"/>
          </ac:spMkLst>
        </pc:spChg>
        <pc:spChg chg="add mod">
          <ac:chgData name="Timo Gossen" userId="4ec7f864-84f7-407f-b8f9-5c31d0de0089" providerId="ADAL" clId="{571CDA5C-BF26-48DF-9431-1F0E911D99DD}" dt="2020-08-12T15:36:32.338" v="333" actId="6549"/>
          <ac:spMkLst>
            <pc:docMk/>
            <pc:sldMk cId="3300356148" sldId="10222"/>
            <ac:spMk id="11" creationId="{E5BCFD79-ACCF-4415-ABDE-04E18E58FD42}"/>
          </ac:spMkLst>
        </pc:spChg>
        <pc:spChg chg="add mod">
          <ac:chgData name="Timo Gossen" userId="4ec7f864-84f7-407f-b8f9-5c31d0de0089" providerId="ADAL" clId="{571CDA5C-BF26-48DF-9431-1F0E911D99DD}" dt="2020-08-12T15:35:31.526" v="330"/>
          <ac:spMkLst>
            <pc:docMk/>
            <pc:sldMk cId="3300356148" sldId="10222"/>
            <ac:spMk id="12" creationId="{48E052C0-54A6-4E53-A82E-17201AAB42C3}"/>
          </ac:spMkLst>
        </pc:spChg>
        <pc:spChg chg="add mod">
          <ac:chgData name="Timo Gossen" userId="4ec7f864-84f7-407f-b8f9-5c31d0de0089" providerId="ADAL" clId="{571CDA5C-BF26-48DF-9431-1F0E911D99DD}" dt="2020-08-12T15:36:07.665" v="332" actId="6549"/>
          <ac:spMkLst>
            <pc:docMk/>
            <pc:sldMk cId="3300356148" sldId="10222"/>
            <ac:spMk id="13" creationId="{5865844A-B378-4D24-B7F0-B5D3709F5455}"/>
          </ac:spMkLst>
        </pc:spChg>
      </pc:sldChg>
      <pc:sldChg chg="new del ord">
        <pc:chgData name="Timo Gossen" userId="4ec7f864-84f7-407f-b8f9-5c31d0de0089" providerId="ADAL" clId="{571CDA5C-BF26-48DF-9431-1F0E911D99DD}" dt="2020-08-12T15:33:18.254" v="322" actId="47"/>
        <pc:sldMkLst>
          <pc:docMk/>
          <pc:sldMk cId="3294335654" sldId="10223"/>
        </pc:sldMkLst>
      </pc:sldChg>
      <pc:sldMasterChg chg="addSldLayout delSldLayout modSldLayout sldLayoutOrd">
        <pc:chgData name="Timo Gossen" userId="4ec7f864-84f7-407f-b8f9-5c31d0de0089" providerId="ADAL" clId="{571CDA5C-BF26-48DF-9431-1F0E911D99DD}" dt="2020-08-12T15:31:50.671" v="254" actId="20578"/>
        <pc:sldMasterMkLst>
          <pc:docMk/>
          <pc:sldMasterMk cId="993860654" sldId="2147483660"/>
        </pc:sldMasterMkLst>
        <pc:sldLayoutChg chg="del">
          <pc:chgData name="Timo Gossen" userId="4ec7f864-84f7-407f-b8f9-5c31d0de0089" providerId="ADAL" clId="{571CDA5C-BF26-48DF-9431-1F0E911D99DD}" dt="2020-08-12T15:23:15.453" v="104" actId="2696"/>
          <pc:sldLayoutMkLst>
            <pc:docMk/>
            <pc:sldMasterMk cId="993860654" sldId="2147483660"/>
            <pc:sldLayoutMk cId="3865412602" sldId="2147483668"/>
          </pc:sldLayoutMkLst>
        </pc:sldLayoutChg>
        <pc:sldLayoutChg chg="del">
          <pc:chgData name="Timo Gossen" userId="4ec7f864-84f7-407f-b8f9-5c31d0de0089" providerId="ADAL" clId="{571CDA5C-BF26-48DF-9431-1F0E911D99DD}" dt="2020-08-12T15:23:16.084" v="105" actId="2696"/>
          <pc:sldLayoutMkLst>
            <pc:docMk/>
            <pc:sldMasterMk cId="993860654" sldId="2147483660"/>
            <pc:sldLayoutMk cId="2902751547" sldId="2147483669"/>
          </pc:sldLayoutMkLst>
        </pc:sldLayoutChg>
        <pc:sldLayoutChg chg="del">
          <pc:chgData name="Timo Gossen" userId="4ec7f864-84f7-407f-b8f9-5c31d0de0089" providerId="ADAL" clId="{571CDA5C-BF26-48DF-9431-1F0E911D99DD}" dt="2020-08-12T15:23:17.372" v="106" actId="2696"/>
          <pc:sldLayoutMkLst>
            <pc:docMk/>
            <pc:sldMasterMk cId="993860654" sldId="2147483660"/>
            <pc:sldLayoutMk cId="3140524480" sldId="2147483670"/>
          </pc:sldLayoutMkLst>
        </pc:sldLayoutChg>
        <pc:sldLayoutChg chg="del">
          <pc:chgData name="Timo Gossen" userId="4ec7f864-84f7-407f-b8f9-5c31d0de0089" providerId="ADAL" clId="{571CDA5C-BF26-48DF-9431-1F0E911D99DD}" dt="2020-08-12T15:23:20.885" v="107" actId="2696"/>
          <pc:sldLayoutMkLst>
            <pc:docMk/>
            <pc:sldMasterMk cId="993860654" sldId="2147483660"/>
            <pc:sldLayoutMk cId="3377344804" sldId="2147483672"/>
          </pc:sldLayoutMkLst>
        </pc:sldLayoutChg>
        <pc:sldLayoutChg chg="del">
          <pc:chgData name="Timo Gossen" userId="4ec7f864-84f7-407f-b8f9-5c31d0de0089" providerId="ADAL" clId="{571CDA5C-BF26-48DF-9431-1F0E911D99DD}" dt="2020-08-12T15:23:22.234" v="108" actId="2696"/>
          <pc:sldLayoutMkLst>
            <pc:docMk/>
            <pc:sldMasterMk cId="993860654" sldId="2147483660"/>
            <pc:sldLayoutMk cId="1391368204" sldId="2147483673"/>
          </pc:sldLayoutMkLst>
        </pc:sldLayoutChg>
        <pc:sldLayoutChg chg="addSp delSp modSp">
          <pc:chgData name="Timo Gossen" userId="4ec7f864-84f7-407f-b8f9-5c31d0de0089" providerId="ADAL" clId="{571CDA5C-BF26-48DF-9431-1F0E911D99DD}" dt="2020-08-12T15:20:47.122" v="4"/>
          <pc:sldLayoutMkLst>
            <pc:docMk/>
            <pc:sldMasterMk cId="993860654" sldId="2147483660"/>
            <pc:sldLayoutMk cId="2821154334" sldId="2147483674"/>
          </pc:sldLayoutMkLst>
          <pc:spChg chg="add del mod">
            <ac:chgData name="Timo Gossen" userId="4ec7f864-84f7-407f-b8f9-5c31d0de0089" providerId="ADAL" clId="{571CDA5C-BF26-48DF-9431-1F0E911D99DD}" dt="2020-08-12T15:20:47.122" v="4"/>
            <ac:spMkLst>
              <pc:docMk/>
              <pc:sldMasterMk cId="993860654" sldId="2147483660"/>
              <pc:sldLayoutMk cId="2821154334" sldId="2147483674"/>
              <ac:spMk id="3" creationId="{F2FA4B70-7DEB-4514-8A29-5B4F8425A4FC}"/>
            </ac:spMkLst>
          </pc:spChg>
          <pc:spChg chg="mod">
            <ac:chgData name="Timo Gossen" userId="4ec7f864-84f7-407f-b8f9-5c31d0de0089" providerId="ADAL" clId="{571CDA5C-BF26-48DF-9431-1F0E911D99DD}" dt="2020-08-12T15:20:45.362" v="3"/>
            <ac:spMkLst>
              <pc:docMk/>
              <pc:sldMasterMk cId="993860654" sldId="2147483660"/>
              <pc:sldLayoutMk cId="2821154334" sldId="2147483674"/>
              <ac:spMk id="5" creationId="{11D64C84-7729-4097-B689-A646C45CE8D1}"/>
            </ac:spMkLst>
          </pc:spChg>
          <pc:spChg chg="mod">
            <ac:chgData name="Timo Gossen" userId="4ec7f864-84f7-407f-b8f9-5c31d0de0089" providerId="ADAL" clId="{571CDA5C-BF26-48DF-9431-1F0E911D99DD}" dt="2020-08-12T15:20:45.362" v="3"/>
            <ac:spMkLst>
              <pc:docMk/>
              <pc:sldMasterMk cId="993860654" sldId="2147483660"/>
              <pc:sldLayoutMk cId="2821154334" sldId="2147483674"/>
              <ac:spMk id="7" creationId="{E608E1EC-F18B-467B-B9B7-5FBFD1BF8960}"/>
            </ac:spMkLst>
          </pc:spChg>
          <pc:spChg chg="mod">
            <ac:chgData name="Timo Gossen" userId="4ec7f864-84f7-407f-b8f9-5c31d0de0089" providerId="ADAL" clId="{571CDA5C-BF26-48DF-9431-1F0E911D99DD}" dt="2020-08-12T15:20:45.362" v="3"/>
            <ac:spMkLst>
              <pc:docMk/>
              <pc:sldMasterMk cId="993860654" sldId="2147483660"/>
              <pc:sldLayoutMk cId="2821154334" sldId="2147483674"/>
              <ac:spMk id="8" creationId="{33D69C23-3433-4672-9B4B-768707DB1440}"/>
            </ac:spMkLst>
          </pc:spChg>
          <pc:spChg chg="add del mod">
            <ac:chgData name="Timo Gossen" userId="4ec7f864-84f7-407f-b8f9-5c31d0de0089" providerId="ADAL" clId="{571CDA5C-BF26-48DF-9431-1F0E911D99DD}" dt="2020-08-12T15:20:47.122" v="4"/>
            <ac:spMkLst>
              <pc:docMk/>
              <pc:sldMasterMk cId="993860654" sldId="2147483660"/>
              <pc:sldLayoutMk cId="2821154334" sldId="2147483674"/>
              <ac:spMk id="9" creationId="{E86BB5A2-DF3B-4435-8BB9-648FAB669108}"/>
            </ac:spMkLst>
          </pc:spChg>
          <pc:spChg chg="add del mod">
            <ac:chgData name="Timo Gossen" userId="4ec7f864-84f7-407f-b8f9-5c31d0de0089" providerId="ADAL" clId="{571CDA5C-BF26-48DF-9431-1F0E911D99DD}" dt="2020-08-12T15:20:47.122" v="4"/>
            <ac:spMkLst>
              <pc:docMk/>
              <pc:sldMasterMk cId="993860654" sldId="2147483660"/>
              <pc:sldLayoutMk cId="2821154334" sldId="2147483674"/>
              <ac:spMk id="10" creationId="{42974151-4C3A-44AD-ADB9-1CAC66F7E51E}"/>
            </ac:spMkLst>
          </pc:spChg>
          <pc:grpChg chg="add del mod">
            <ac:chgData name="Timo Gossen" userId="4ec7f864-84f7-407f-b8f9-5c31d0de0089" providerId="ADAL" clId="{571CDA5C-BF26-48DF-9431-1F0E911D99DD}" dt="2020-08-12T15:20:47.122" v="4"/>
            <ac:grpSpMkLst>
              <pc:docMk/>
              <pc:sldMasterMk cId="993860654" sldId="2147483660"/>
              <pc:sldLayoutMk cId="2821154334" sldId="2147483674"/>
              <ac:grpSpMk id="4" creationId="{8902D686-17ED-46AD-AB31-1DE4A4A608C2}"/>
            </ac:grpSpMkLst>
          </pc:grpChg>
          <pc:grpChg chg="mod">
            <ac:chgData name="Timo Gossen" userId="4ec7f864-84f7-407f-b8f9-5c31d0de0089" providerId="ADAL" clId="{571CDA5C-BF26-48DF-9431-1F0E911D99DD}" dt="2020-08-12T15:20:45.362" v="3"/>
            <ac:grpSpMkLst>
              <pc:docMk/>
              <pc:sldMasterMk cId="993860654" sldId="2147483660"/>
              <pc:sldLayoutMk cId="2821154334" sldId="2147483674"/>
              <ac:grpSpMk id="6" creationId="{7744BD8E-38E6-4C1C-A674-93A3A76AE571}"/>
            </ac:grpSpMkLst>
          </pc:grpChg>
        </pc:sldLayoutChg>
        <pc:sldLayoutChg chg="del">
          <pc:chgData name="Timo Gossen" userId="4ec7f864-84f7-407f-b8f9-5c31d0de0089" providerId="ADAL" clId="{571CDA5C-BF26-48DF-9431-1F0E911D99DD}" dt="2020-08-12T15:23:25.437" v="109" actId="2696"/>
          <pc:sldLayoutMkLst>
            <pc:docMk/>
            <pc:sldMasterMk cId="993860654" sldId="2147483660"/>
            <pc:sldLayoutMk cId="2994909284" sldId="2147483675"/>
          </pc:sldLayoutMkLst>
        </pc:sldLayoutChg>
        <pc:sldLayoutChg chg="del">
          <pc:chgData name="Timo Gossen" userId="4ec7f864-84f7-407f-b8f9-5c31d0de0089" providerId="ADAL" clId="{571CDA5C-BF26-48DF-9431-1F0E911D99DD}" dt="2020-08-12T15:23:32.856" v="110" actId="2696"/>
          <pc:sldLayoutMkLst>
            <pc:docMk/>
            <pc:sldMasterMk cId="993860654" sldId="2147483660"/>
            <pc:sldLayoutMk cId="29511025" sldId="2147483676"/>
          </pc:sldLayoutMkLst>
        </pc:sldLayoutChg>
        <pc:sldLayoutChg chg="del">
          <pc:chgData name="Timo Gossen" userId="4ec7f864-84f7-407f-b8f9-5c31d0de0089" providerId="ADAL" clId="{571CDA5C-BF26-48DF-9431-1F0E911D99DD}" dt="2020-08-12T15:23:33.637" v="111" actId="2696"/>
          <pc:sldLayoutMkLst>
            <pc:docMk/>
            <pc:sldMasterMk cId="993860654" sldId="2147483660"/>
            <pc:sldLayoutMk cId="50882754" sldId="2147483677"/>
          </pc:sldLayoutMkLst>
        </pc:sldLayoutChg>
        <pc:sldLayoutChg chg="del">
          <pc:chgData name="Timo Gossen" userId="4ec7f864-84f7-407f-b8f9-5c31d0de0089" providerId="ADAL" clId="{571CDA5C-BF26-48DF-9431-1F0E911D99DD}" dt="2020-08-12T15:23:34.359" v="112" actId="2696"/>
          <pc:sldLayoutMkLst>
            <pc:docMk/>
            <pc:sldMasterMk cId="993860654" sldId="2147483660"/>
            <pc:sldLayoutMk cId="3283746358" sldId="2147483678"/>
          </pc:sldLayoutMkLst>
        </pc:sldLayoutChg>
        <pc:sldLayoutChg chg="modSp">
          <pc:chgData name="Timo Gossen" userId="4ec7f864-84f7-407f-b8f9-5c31d0de0089" providerId="ADAL" clId="{571CDA5C-BF26-48DF-9431-1F0E911D99DD}" dt="2020-08-12T15:22:38.905" v="95" actId="20577"/>
          <pc:sldLayoutMkLst>
            <pc:docMk/>
            <pc:sldMasterMk cId="993860654" sldId="2147483660"/>
            <pc:sldLayoutMk cId="3241177136" sldId="2147483686"/>
          </pc:sldLayoutMkLst>
          <pc:spChg chg="mod">
            <ac:chgData name="Timo Gossen" userId="4ec7f864-84f7-407f-b8f9-5c31d0de0089" providerId="ADAL" clId="{571CDA5C-BF26-48DF-9431-1F0E911D99DD}" dt="2020-08-12T15:22:38.905" v="95" actId="20577"/>
            <ac:spMkLst>
              <pc:docMk/>
              <pc:sldMasterMk cId="993860654" sldId="2147483660"/>
              <pc:sldLayoutMk cId="3241177136" sldId="2147483686"/>
              <ac:spMk id="2" creationId="{00000000-0000-0000-0000-000000000000}"/>
            </ac:spMkLst>
          </pc:spChg>
        </pc:sldLayoutChg>
        <pc:sldLayoutChg chg="del">
          <pc:chgData name="Timo Gossen" userId="4ec7f864-84f7-407f-b8f9-5c31d0de0089" providerId="ADAL" clId="{571CDA5C-BF26-48DF-9431-1F0E911D99DD}" dt="2020-08-12T15:23:01.083" v="97" actId="2696"/>
          <pc:sldLayoutMkLst>
            <pc:docMk/>
            <pc:sldMasterMk cId="993860654" sldId="2147483660"/>
            <pc:sldLayoutMk cId="4267210508" sldId="2147483689"/>
          </pc:sldLayoutMkLst>
        </pc:sldLayoutChg>
        <pc:sldLayoutChg chg="del">
          <pc:chgData name="Timo Gossen" userId="4ec7f864-84f7-407f-b8f9-5c31d0de0089" providerId="ADAL" clId="{571CDA5C-BF26-48DF-9431-1F0E911D99DD}" dt="2020-08-12T15:22:32.100" v="80" actId="2696"/>
          <pc:sldLayoutMkLst>
            <pc:docMk/>
            <pc:sldMasterMk cId="993860654" sldId="2147483660"/>
            <pc:sldLayoutMk cId="1426395456" sldId="2147483690"/>
          </pc:sldLayoutMkLst>
        </pc:sldLayoutChg>
        <pc:sldLayoutChg chg="del">
          <pc:chgData name="Timo Gossen" userId="4ec7f864-84f7-407f-b8f9-5c31d0de0089" providerId="ADAL" clId="{571CDA5C-BF26-48DF-9431-1F0E911D99DD}" dt="2020-08-12T15:22:32.103" v="81" actId="2696"/>
          <pc:sldLayoutMkLst>
            <pc:docMk/>
            <pc:sldMasterMk cId="993860654" sldId="2147483660"/>
            <pc:sldLayoutMk cId="2178020663" sldId="2147483691"/>
          </pc:sldLayoutMkLst>
        </pc:sldLayoutChg>
        <pc:sldLayoutChg chg="del">
          <pc:chgData name="Timo Gossen" userId="4ec7f864-84f7-407f-b8f9-5c31d0de0089" providerId="ADAL" clId="{571CDA5C-BF26-48DF-9431-1F0E911D99DD}" dt="2020-08-12T15:22:32.105" v="82" actId="2696"/>
          <pc:sldLayoutMkLst>
            <pc:docMk/>
            <pc:sldMasterMk cId="993860654" sldId="2147483660"/>
            <pc:sldLayoutMk cId="1399756346" sldId="2147483692"/>
          </pc:sldLayoutMkLst>
        </pc:sldLayoutChg>
        <pc:sldLayoutChg chg="del">
          <pc:chgData name="Timo Gossen" userId="4ec7f864-84f7-407f-b8f9-5c31d0de0089" providerId="ADAL" clId="{571CDA5C-BF26-48DF-9431-1F0E911D99DD}" dt="2020-08-12T15:22:32.107" v="83" actId="2696"/>
          <pc:sldLayoutMkLst>
            <pc:docMk/>
            <pc:sldMasterMk cId="993860654" sldId="2147483660"/>
            <pc:sldLayoutMk cId="238293821" sldId="2147483693"/>
          </pc:sldLayoutMkLst>
        </pc:sldLayoutChg>
        <pc:sldLayoutChg chg="del">
          <pc:chgData name="Timo Gossen" userId="4ec7f864-84f7-407f-b8f9-5c31d0de0089" providerId="ADAL" clId="{571CDA5C-BF26-48DF-9431-1F0E911D99DD}" dt="2020-08-12T15:22:32.110" v="84" actId="2696"/>
          <pc:sldLayoutMkLst>
            <pc:docMk/>
            <pc:sldMasterMk cId="993860654" sldId="2147483660"/>
            <pc:sldLayoutMk cId="3127536440" sldId="2147483694"/>
          </pc:sldLayoutMkLst>
        </pc:sldLayoutChg>
        <pc:sldLayoutChg chg="del">
          <pc:chgData name="Timo Gossen" userId="4ec7f864-84f7-407f-b8f9-5c31d0de0089" providerId="ADAL" clId="{571CDA5C-BF26-48DF-9431-1F0E911D99DD}" dt="2020-08-12T15:22:32.082" v="79" actId="2696"/>
          <pc:sldLayoutMkLst>
            <pc:docMk/>
            <pc:sldMasterMk cId="993860654" sldId="2147483660"/>
            <pc:sldLayoutMk cId="1155441782" sldId="2147483695"/>
          </pc:sldLayoutMkLst>
        </pc:sldLayoutChg>
        <pc:sldLayoutChg chg="addSp delSp modSp mod ord">
          <pc:chgData name="Timo Gossen" userId="4ec7f864-84f7-407f-b8f9-5c31d0de0089" providerId="ADAL" clId="{571CDA5C-BF26-48DF-9431-1F0E911D99DD}" dt="2020-08-12T15:31:50.671" v="254" actId="20578"/>
          <pc:sldLayoutMkLst>
            <pc:docMk/>
            <pc:sldMasterMk cId="993860654" sldId="2147483660"/>
            <pc:sldLayoutMk cId="3523634492" sldId="2147483696"/>
          </pc:sldLayoutMkLst>
          <pc:spChg chg="add del">
            <ac:chgData name="Timo Gossen" userId="4ec7f864-84f7-407f-b8f9-5c31d0de0089" providerId="ADAL" clId="{571CDA5C-BF26-48DF-9431-1F0E911D99DD}" dt="2020-08-12T15:24:15.457" v="115" actId="11529"/>
            <ac:spMkLst>
              <pc:docMk/>
              <pc:sldMasterMk cId="993860654" sldId="2147483660"/>
              <pc:sldLayoutMk cId="3523634492" sldId="2147483696"/>
              <ac:spMk id="2" creationId="{CA80D713-A237-4B91-931C-3F8C29069C71}"/>
            </ac:spMkLst>
          </pc:spChg>
          <pc:spChg chg="del mod">
            <ac:chgData name="Timo Gossen" userId="4ec7f864-84f7-407f-b8f9-5c31d0de0089" providerId="ADAL" clId="{571CDA5C-BF26-48DF-9431-1F0E911D99DD}" dt="2020-08-12T15:22:27.026" v="78" actId="478"/>
            <ac:spMkLst>
              <pc:docMk/>
              <pc:sldMasterMk cId="993860654" sldId="2147483660"/>
              <pc:sldLayoutMk cId="3523634492" sldId="2147483696"/>
              <ac:spMk id="3" creationId="{00000000-0000-0000-0000-000000000000}"/>
            </ac:spMkLst>
          </pc:spChg>
          <pc:spChg chg="add del mod">
            <ac:chgData name="Timo Gossen" userId="4ec7f864-84f7-407f-b8f9-5c31d0de0089" providerId="ADAL" clId="{571CDA5C-BF26-48DF-9431-1F0E911D99DD}" dt="2020-08-12T15:30:58.393" v="251" actId="20577"/>
            <ac:spMkLst>
              <pc:docMk/>
              <pc:sldMasterMk cId="993860654" sldId="2147483660"/>
              <pc:sldLayoutMk cId="3523634492" sldId="2147483696"/>
              <ac:spMk id="4" creationId="{C2C1733E-B422-45C8-8755-B39BEA08850B}"/>
            </ac:spMkLst>
          </pc:spChg>
          <pc:spChg chg="del">
            <ac:chgData name="Timo Gossen" userId="4ec7f864-84f7-407f-b8f9-5c31d0de0089" providerId="ADAL" clId="{571CDA5C-BF26-48DF-9431-1F0E911D99DD}" dt="2020-08-12T15:22:21.549" v="76" actId="478"/>
            <ac:spMkLst>
              <pc:docMk/>
              <pc:sldMasterMk cId="993860654" sldId="2147483660"/>
              <pc:sldLayoutMk cId="3523634492" sldId="2147483696"/>
              <ac:spMk id="5" creationId="{00000000-0000-0000-0000-000000000000}"/>
            </ac:spMkLst>
          </pc:spChg>
          <pc:spChg chg="del mod topLvl">
            <ac:chgData name="Timo Gossen" userId="4ec7f864-84f7-407f-b8f9-5c31d0de0089" providerId="ADAL" clId="{571CDA5C-BF26-48DF-9431-1F0E911D99DD}" dt="2020-08-12T15:24:35.984" v="117" actId="21"/>
            <ac:spMkLst>
              <pc:docMk/>
              <pc:sldMasterMk cId="993860654" sldId="2147483660"/>
              <pc:sldLayoutMk cId="3523634492" sldId="2147483696"/>
              <ac:spMk id="7" creationId="{61A6580C-649F-4C62-B0B8-D4CA31C05BF3}"/>
            </ac:spMkLst>
          </pc:spChg>
          <pc:spChg chg="mod">
            <ac:chgData name="Timo Gossen" userId="4ec7f864-84f7-407f-b8f9-5c31d0de0089" providerId="ADAL" clId="{571CDA5C-BF26-48DF-9431-1F0E911D99DD}" dt="2020-08-12T15:22:16.180" v="75"/>
            <ac:spMkLst>
              <pc:docMk/>
              <pc:sldMasterMk cId="993860654" sldId="2147483660"/>
              <pc:sldLayoutMk cId="3523634492" sldId="2147483696"/>
              <ac:spMk id="9" creationId="{B0835B06-2B3C-4CBA-8C30-D2BA7BF6443E}"/>
            </ac:spMkLst>
          </pc:spChg>
          <pc:spChg chg="mod">
            <ac:chgData name="Timo Gossen" userId="4ec7f864-84f7-407f-b8f9-5c31d0de0089" providerId="ADAL" clId="{571CDA5C-BF26-48DF-9431-1F0E911D99DD}" dt="2020-08-12T15:22:16.180" v="75"/>
            <ac:spMkLst>
              <pc:docMk/>
              <pc:sldMasterMk cId="993860654" sldId="2147483660"/>
              <pc:sldLayoutMk cId="3523634492" sldId="2147483696"/>
              <ac:spMk id="10" creationId="{70021638-8B44-4082-87EC-45BA11C3277B}"/>
            </ac:spMkLst>
          </pc:spChg>
          <pc:spChg chg="add mod">
            <ac:chgData name="Timo Gossen" userId="4ec7f864-84f7-407f-b8f9-5c31d0de0089" providerId="ADAL" clId="{571CDA5C-BF26-48DF-9431-1F0E911D99DD}" dt="2020-08-12T15:22:16.180" v="75"/>
            <ac:spMkLst>
              <pc:docMk/>
              <pc:sldMasterMk cId="993860654" sldId="2147483660"/>
              <pc:sldLayoutMk cId="3523634492" sldId="2147483696"/>
              <ac:spMk id="11" creationId="{18C2EFA9-917C-4222-9A71-16F8B08FDF2E}"/>
            </ac:spMkLst>
          </pc:spChg>
          <pc:spChg chg="add mod">
            <ac:chgData name="Timo Gossen" userId="4ec7f864-84f7-407f-b8f9-5c31d0de0089" providerId="ADAL" clId="{571CDA5C-BF26-48DF-9431-1F0E911D99DD}" dt="2020-08-12T15:22:16.180" v="75"/>
            <ac:spMkLst>
              <pc:docMk/>
              <pc:sldMasterMk cId="993860654" sldId="2147483660"/>
              <pc:sldLayoutMk cId="3523634492" sldId="2147483696"/>
              <ac:spMk id="12" creationId="{4942C1D3-04C3-475F-BA4B-B00CCB1BE2EE}"/>
            </ac:spMkLst>
          </pc:spChg>
          <pc:spChg chg="add del mod">
            <ac:chgData name="Timo Gossen" userId="4ec7f864-84f7-407f-b8f9-5c31d0de0089" providerId="ADAL" clId="{571CDA5C-BF26-48DF-9431-1F0E911D99DD}" dt="2020-08-12T15:24:19.392" v="116" actId="478"/>
            <ac:spMkLst>
              <pc:docMk/>
              <pc:sldMasterMk cId="993860654" sldId="2147483660"/>
              <pc:sldLayoutMk cId="3523634492" sldId="2147483696"/>
              <ac:spMk id="13" creationId="{88E0CACD-5B41-49B2-A487-34C52A4BFB7A}"/>
            </ac:spMkLst>
          </pc:spChg>
          <pc:spChg chg="add del">
            <ac:chgData name="Timo Gossen" userId="4ec7f864-84f7-407f-b8f9-5c31d0de0089" providerId="ADAL" clId="{571CDA5C-BF26-48DF-9431-1F0E911D99DD}" dt="2020-08-12T15:24:39.887" v="118" actId="11529"/>
            <ac:spMkLst>
              <pc:docMk/>
              <pc:sldMasterMk cId="993860654" sldId="2147483660"/>
              <pc:sldLayoutMk cId="3523634492" sldId="2147483696"/>
              <ac:spMk id="14" creationId="{676CB7B6-BAEA-4043-8178-875818367127}"/>
            </ac:spMkLst>
          </pc:spChg>
          <pc:spChg chg="add del mod">
            <ac:chgData name="Timo Gossen" userId="4ec7f864-84f7-407f-b8f9-5c31d0de0089" providerId="ADAL" clId="{571CDA5C-BF26-48DF-9431-1F0E911D99DD}" dt="2020-08-12T15:25:43.976" v="180" actId="478"/>
            <ac:spMkLst>
              <pc:docMk/>
              <pc:sldMasterMk cId="993860654" sldId="2147483660"/>
              <pc:sldLayoutMk cId="3523634492" sldId="2147483696"/>
              <ac:spMk id="15" creationId="{2FEA733D-30B0-424D-8DF2-8A396F5B0BFB}"/>
            </ac:spMkLst>
          </pc:spChg>
          <pc:spChg chg="add del mod">
            <ac:chgData name="Timo Gossen" userId="4ec7f864-84f7-407f-b8f9-5c31d0de0089" providerId="ADAL" clId="{571CDA5C-BF26-48DF-9431-1F0E911D99DD}" dt="2020-08-12T15:29:27.480" v="228" actId="478"/>
            <ac:spMkLst>
              <pc:docMk/>
              <pc:sldMasterMk cId="993860654" sldId="2147483660"/>
              <pc:sldLayoutMk cId="3523634492" sldId="2147483696"/>
              <ac:spMk id="17" creationId="{BAC0648D-E18D-46AB-8AB1-D4C07861C899}"/>
            </ac:spMkLst>
          </pc:spChg>
          <pc:spChg chg="add del">
            <ac:chgData name="Timo Gossen" userId="4ec7f864-84f7-407f-b8f9-5c31d0de0089" providerId="ADAL" clId="{571CDA5C-BF26-48DF-9431-1F0E911D99DD}" dt="2020-08-12T15:27:01.960" v="184" actId="11529"/>
            <ac:spMkLst>
              <pc:docMk/>
              <pc:sldMasterMk cId="993860654" sldId="2147483660"/>
              <pc:sldLayoutMk cId="3523634492" sldId="2147483696"/>
              <ac:spMk id="18" creationId="{C4CE5565-2EC6-4188-91E0-DFB04519A6FA}"/>
            </ac:spMkLst>
          </pc:spChg>
          <pc:spChg chg="add del mod ord">
            <ac:chgData name="Timo Gossen" userId="4ec7f864-84f7-407f-b8f9-5c31d0de0089" providerId="ADAL" clId="{571CDA5C-BF26-48DF-9431-1F0E911D99DD}" dt="2020-08-12T15:31:11.063" v="252" actId="13926"/>
            <ac:spMkLst>
              <pc:docMk/>
              <pc:sldMasterMk cId="993860654" sldId="2147483660"/>
              <pc:sldLayoutMk cId="3523634492" sldId="2147483696"/>
              <ac:spMk id="19" creationId="{9860598F-5489-4F0B-B9DA-B1DC8ECA311B}"/>
            </ac:spMkLst>
          </pc:spChg>
          <pc:grpChg chg="add del mod">
            <ac:chgData name="Timo Gossen" userId="4ec7f864-84f7-407f-b8f9-5c31d0de0089" providerId="ADAL" clId="{571CDA5C-BF26-48DF-9431-1F0E911D99DD}" dt="2020-08-12T15:24:35.984" v="117" actId="21"/>
            <ac:grpSpMkLst>
              <pc:docMk/>
              <pc:sldMasterMk cId="993860654" sldId="2147483660"/>
              <pc:sldLayoutMk cId="3523634492" sldId="2147483696"/>
              <ac:grpSpMk id="6" creationId="{6454C569-C075-4ABB-8225-AB5BAE13DDD8}"/>
            </ac:grpSpMkLst>
          </pc:grpChg>
          <pc:grpChg chg="mod topLvl">
            <ac:chgData name="Timo Gossen" userId="4ec7f864-84f7-407f-b8f9-5c31d0de0089" providerId="ADAL" clId="{571CDA5C-BF26-48DF-9431-1F0E911D99DD}" dt="2020-08-12T15:24:35.984" v="117" actId="21"/>
            <ac:grpSpMkLst>
              <pc:docMk/>
              <pc:sldMasterMk cId="993860654" sldId="2147483660"/>
              <pc:sldLayoutMk cId="3523634492" sldId="2147483696"/>
              <ac:grpSpMk id="8" creationId="{E38D5D52-C2AC-4D22-8669-793E54461611}"/>
            </ac:grpSpMkLst>
          </pc:grpChg>
        </pc:sldLayoutChg>
        <pc:sldLayoutChg chg="del">
          <pc:chgData name="Timo Gossen" userId="4ec7f864-84f7-407f-b8f9-5c31d0de0089" providerId="ADAL" clId="{571CDA5C-BF26-48DF-9431-1F0E911D99DD}" dt="2020-08-12T15:23:03.945" v="98" actId="2696"/>
          <pc:sldLayoutMkLst>
            <pc:docMk/>
            <pc:sldMasterMk cId="993860654" sldId="2147483660"/>
            <pc:sldLayoutMk cId="3956103704" sldId="2147483697"/>
          </pc:sldLayoutMkLst>
        </pc:sldLayoutChg>
        <pc:sldLayoutChg chg="del">
          <pc:chgData name="Timo Gossen" userId="4ec7f864-84f7-407f-b8f9-5c31d0de0089" providerId="ADAL" clId="{571CDA5C-BF26-48DF-9431-1F0E911D99DD}" dt="2020-08-12T15:23:04.650" v="99" actId="2696"/>
          <pc:sldLayoutMkLst>
            <pc:docMk/>
            <pc:sldMasterMk cId="993860654" sldId="2147483660"/>
            <pc:sldLayoutMk cId="2656004259" sldId="2147483698"/>
          </pc:sldLayoutMkLst>
        </pc:sldLayoutChg>
        <pc:sldLayoutChg chg="del">
          <pc:chgData name="Timo Gossen" userId="4ec7f864-84f7-407f-b8f9-5c31d0de0089" providerId="ADAL" clId="{571CDA5C-BF26-48DF-9431-1F0E911D99DD}" dt="2020-08-12T15:23:05.511" v="100" actId="2696"/>
          <pc:sldLayoutMkLst>
            <pc:docMk/>
            <pc:sldMasterMk cId="993860654" sldId="2147483660"/>
            <pc:sldLayoutMk cId="554454976" sldId="2147483699"/>
          </pc:sldLayoutMkLst>
        </pc:sldLayoutChg>
        <pc:sldLayoutChg chg="del">
          <pc:chgData name="Timo Gossen" userId="4ec7f864-84f7-407f-b8f9-5c31d0de0089" providerId="ADAL" clId="{571CDA5C-BF26-48DF-9431-1F0E911D99DD}" dt="2020-08-12T15:23:05.792" v="101" actId="2696"/>
          <pc:sldLayoutMkLst>
            <pc:docMk/>
            <pc:sldMasterMk cId="993860654" sldId="2147483660"/>
            <pc:sldLayoutMk cId="4027906882" sldId="2147483700"/>
          </pc:sldLayoutMkLst>
        </pc:sldLayoutChg>
        <pc:sldLayoutChg chg="del">
          <pc:chgData name="Timo Gossen" userId="4ec7f864-84f7-407f-b8f9-5c31d0de0089" providerId="ADAL" clId="{571CDA5C-BF26-48DF-9431-1F0E911D99DD}" dt="2020-08-12T15:23:06.160" v="102" actId="2696"/>
          <pc:sldLayoutMkLst>
            <pc:docMk/>
            <pc:sldMasterMk cId="993860654" sldId="2147483660"/>
            <pc:sldLayoutMk cId="1599121603" sldId="2147483701"/>
          </pc:sldLayoutMkLst>
        </pc:sldLayoutChg>
        <pc:sldLayoutChg chg="del">
          <pc:chgData name="Timo Gossen" userId="4ec7f864-84f7-407f-b8f9-5c31d0de0089" providerId="ADAL" clId="{571CDA5C-BF26-48DF-9431-1F0E911D99DD}" dt="2020-08-12T15:23:08.311" v="103" actId="2696"/>
          <pc:sldLayoutMkLst>
            <pc:docMk/>
            <pc:sldMasterMk cId="993860654" sldId="2147483660"/>
            <pc:sldLayoutMk cId="279833410" sldId="2147483704"/>
          </pc:sldLayoutMkLst>
        </pc:sldLayoutChg>
        <pc:sldLayoutChg chg="new del mod ord">
          <pc:chgData name="Timo Gossen" userId="4ec7f864-84f7-407f-b8f9-5c31d0de0089" providerId="ADAL" clId="{571CDA5C-BF26-48DF-9431-1F0E911D99DD}" dt="2020-08-12T15:26:47.350" v="183" actId="2696"/>
          <pc:sldLayoutMkLst>
            <pc:docMk/>
            <pc:sldMasterMk cId="993860654" sldId="2147483660"/>
            <pc:sldLayoutMk cId="3490642278" sldId="2147483707"/>
          </pc:sldLayoutMkLst>
        </pc:sldLayoutChg>
      </pc:sldMasterChg>
      <pc:sldMasterChg chg="new del mod addSldLayout delSldLayout">
        <pc:chgData name="Timo Gossen" userId="4ec7f864-84f7-407f-b8f9-5c31d0de0089" providerId="ADAL" clId="{571CDA5C-BF26-48DF-9431-1F0E911D99DD}" dt="2020-08-12T15:21:51.712" v="72" actId="2696"/>
        <pc:sldMasterMkLst>
          <pc:docMk/>
          <pc:sldMasterMk cId="672255735" sldId="2147483707"/>
        </pc:sldMasterMkLst>
        <pc:sldLayoutChg chg="new del replId">
          <pc:chgData name="Timo Gossen" userId="4ec7f864-84f7-407f-b8f9-5c31d0de0089" providerId="ADAL" clId="{571CDA5C-BF26-48DF-9431-1F0E911D99DD}" dt="2020-08-12T15:21:51.690" v="61" actId="2696"/>
          <pc:sldLayoutMkLst>
            <pc:docMk/>
            <pc:sldMasterMk cId="672255735" sldId="2147483707"/>
            <pc:sldLayoutMk cId="4276216879" sldId="2147483708"/>
          </pc:sldLayoutMkLst>
        </pc:sldLayoutChg>
        <pc:sldLayoutChg chg="new del replId">
          <pc:chgData name="Timo Gossen" userId="4ec7f864-84f7-407f-b8f9-5c31d0de0089" providerId="ADAL" clId="{571CDA5C-BF26-48DF-9431-1F0E911D99DD}" dt="2020-08-12T15:21:51.692" v="62" actId="2696"/>
          <pc:sldLayoutMkLst>
            <pc:docMk/>
            <pc:sldMasterMk cId="672255735" sldId="2147483707"/>
            <pc:sldLayoutMk cId="1349603003" sldId="2147483709"/>
          </pc:sldLayoutMkLst>
        </pc:sldLayoutChg>
        <pc:sldLayoutChg chg="new del replId">
          <pc:chgData name="Timo Gossen" userId="4ec7f864-84f7-407f-b8f9-5c31d0de0089" providerId="ADAL" clId="{571CDA5C-BF26-48DF-9431-1F0E911D99DD}" dt="2020-08-12T15:21:51.694" v="63" actId="2696"/>
          <pc:sldLayoutMkLst>
            <pc:docMk/>
            <pc:sldMasterMk cId="672255735" sldId="2147483707"/>
            <pc:sldLayoutMk cId="3393106969" sldId="2147483710"/>
          </pc:sldLayoutMkLst>
        </pc:sldLayoutChg>
        <pc:sldLayoutChg chg="new del replId">
          <pc:chgData name="Timo Gossen" userId="4ec7f864-84f7-407f-b8f9-5c31d0de0089" providerId="ADAL" clId="{571CDA5C-BF26-48DF-9431-1F0E911D99DD}" dt="2020-08-12T15:21:51.696" v="64" actId="2696"/>
          <pc:sldLayoutMkLst>
            <pc:docMk/>
            <pc:sldMasterMk cId="672255735" sldId="2147483707"/>
            <pc:sldLayoutMk cId="2991601908" sldId="2147483711"/>
          </pc:sldLayoutMkLst>
        </pc:sldLayoutChg>
        <pc:sldLayoutChg chg="new del replId">
          <pc:chgData name="Timo Gossen" userId="4ec7f864-84f7-407f-b8f9-5c31d0de0089" providerId="ADAL" clId="{571CDA5C-BF26-48DF-9431-1F0E911D99DD}" dt="2020-08-12T15:21:51.699" v="65" actId="2696"/>
          <pc:sldLayoutMkLst>
            <pc:docMk/>
            <pc:sldMasterMk cId="672255735" sldId="2147483707"/>
            <pc:sldLayoutMk cId="3787427270" sldId="2147483712"/>
          </pc:sldLayoutMkLst>
        </pc:sldLayoutChg>
        <pc:sldLayoutChg chg="new del replId">
          <pc:chgData name="Timo Gossen" userId="4ec7f864-84f7-407f-b8f9-5c31d0de0089" providerId="ADAL" clId="{571CDA5C-BF26-48DF-9431-1F0E911D99DD}" dt="2020-08-12T15:21:51.700" v="66" actId="2696"/>
          <pc:sldLayoutMkLst>
            <pc:docMk/>
            <pc:sldMasterMk cId="672255735" sldId="2147483707"/>
            <pc:sldLayoutMk cId="11945827" sldId="2147483713"/>
          </pc:sldLayoutMkLst>
        </pc:sldLayoutChg>
        <pc:sldLayoutChg chg="new del replId">
          <pc:chgData name="Timo Gossen" userId="4ec7f864-84f7-407f-b8f9-5c31d0de0089" providerId="ADAL" clId="{571CDA5C-BF26-48DF-9431-1F0E911D99DD}" dt="2020-08-12T15:21:51.702" v="67" actId="2696"/>
          <pc:sldLayoutMkLst>
            <pc:docMk/>
            <pc:sldMasterMk cId="672255735" sldId="2147483707"/>
            <pc:sldLayoutMk cId="3921387822" sldId="2147483714"/>
          </pc:sldLayoutMkLst>
        </pc:sldLayoutChg>
        <pc:sldLayoutChg chg="new del replId">
          <pc:chgData name="Timo Gossen" userId="4ec7f864-84f7-407f-b8f9-5c31d0de0089" providerId="ADAL" clId="{571CDA5C-BF26-48DF-9431-1F0E911D99DD}" dt="2020-08-12T15:21:51.705" v="68" actId="2696"/>
          <pc:sldLayoutMkLst>
            <pc:docMk/>
            <pc:sldMasterMk cId="672255735" sldId="2147483707"/>
            <pc:sldLayoutMk cId="454524763" sldId="2147483715"/>
          </pc:sldLayoutMkLst>
        </pc:sldLayoutChg>
        <pc:sldLayoutChg chg="new del replId">
          <pc:chgData name="Timo Gossen" userId="4ec7f864-84f7-407f-b8f9-5c31d0de0089" providerId="ADAL" clId="{571CDA5C-BF26-48DF-9431-1F0E911D99DD}" dt="2020-08-12T15:21:51.706" v="69" actId="2696"/>
          <pc:sldLayoutMkLst>
            <pc:docMk/>
            <pc:sldMasterMk cId="672255735" sldId="2147483707"/>
            <pc:sldLayoutMk cId="3265822601" sldId="2147483716"/>
          </pc:sldLayoutMkLst>
        </pc:sldLayoutChg>
        <pc:sldLayoutChg chg="new del replId">
          <pc:chgData name="Timo Gossen" userId="4ec7f864-84f7-407f-b8f9-5c31d0de0089" providerId="ADAL" clId="{571CDA5C-BF26-48DF-9431-1F0E911D99DD}" dt="2020-08-12T15:21:51.708" v="70" actId="2696"/>
          <pc:sldLayoutMkLst>
            <pc:docMk/>
            <pc:sldMasterMk cId="672255735" sldId="2147483707"/>
            <pc:sldLayoutMk cId="788669642" sldId="2147483717"/>
          </pc:sldLayoutMkLst>
        </pc:sldLayoutChg>
        <pc:sldLayoutChg chg="new del replId">
          <pc:chgData name="Timo Gossen" userId="4ec7f864-84f7-407f-b8f9-5c31d0de0089" providerId="ADAL" clId="{571CDA5C-BF26-48DF-9431-1F0E911D99DD}" dt="2020-08-12T15:21:51.710" v="71" actId="2696"/>
          <pc:sldLayoutMkLst>
            <pc:docMk/>
            <pc:sldMasterMk cId="672255735" sldId="2147483707"/>
            <pc:sldLayoutMk cId="638469793" sldId="2147483718"/>
          </pc:sldLayoutMkLst>
        </pc:sldLayoutChg>
      </pc:sldMasterChg>
      <pc:sldMasterChg chg="modSldLayout">
        <pc:chgData name="Timo Gossen" userId="4ec7f864-84f7-407f-b8f9-5c31d0de0089" providerId="ADAL" clId="{571CDA5C-BF26-48DF-9431-1F0E911D99DD}" dt="2020-08-12T15:19:28.305" v="0"/>
        <pc:sldMasterMkLst>
          <pc:docMk/>
          <pc:sldMasterMk cId="3227279366" sldId="2147483707"/>
        </pc:sldMasterMkLst>
        <pc:sldLayoutChg chg="setBg">
          <pc:chgData name="Timo Gossen" userId="4ec7f864-84f7-407f-b8f9-5c31d0de0089" providerId="ADAL" clId="{571CDA5C-BF26-48DF-9431-1F0E911D99DD}" dt="2020-08-12T15:19:28.305" v="0"/>
          <pc:sldLayoutMkLst>
            <pc:docMk/>
            <pc:sldMasterMk cId="3227279366" sldId="2147483707"/>
            <pc:sldLayoutMk cId="1903115332" sldId="2147483708"/>
          </pc:sldLayoutMkLst>
        </pc:sldLayoutChg>
        <pc:sldLayoutChg chg="setBg">
          <pc:chgData name="Timo Gossen" userId="4ec7f864-84f7-407f-b8f9-5c31d0de0089" providerId="ADAL" clId="{571CDA5C-BF26-48DF-9431-1F0E911D99DD}" dt="2020-08-12T15:19:28.305" v="0"/>
          <pc:sldLayoutMkLst>
            <pc:docMk/>
            <pc:sldMasterMk cId="3227279366" sldId="2147483707"/>
            <pc:sldLayoutMk cId="2066541330" sldId="2147483709"/>
          </pc:sldLayoutMkLst>
        </pc:sldLayoutChg>
        <pc:sldLayoutChg chg="setBg">
          <pc:chgData name="Timo Gossen" userId="4ec7f864-84f7-407f-b8f9-5c31d0de0089" providerId="ADAL" clId="{571CDA5C-BF26-48DF-9431-1F0E911D99DD}" dt="2020-08-12T15:19:28.305" v="0"/>
          <pc:sldLayoutMkLst>
            <pc:docMk/>
            <pc:sldMasterMk cId="3227279366" sldId="2147483707"/>
            <pc:sldLayoutMk cId="1235828753" sldId="2147483710"/>
          </pc:sldLayoutMkLst>
        </pc:sldLayoutChg>
        <pc:sldLayoutChg chg="setBg">
          <pc:chgData name="Timo Gossen" userId="4ec7f864-84f7-407f-b8f9-5c31d0de0089" providerId="ADAL" clId="{571CDA5C-BF26-48DF-9431-1F0E911D99DD}" dt="2020-08-12T15:19:28.305" v="0"/>
          <pc:sldLayoutMkLst>
            <pc:docMk/>
            <pc:sldMasterMk cId="3227279366" sldId="2147483707"/>
            <pc:sldLayoutMk cId="999989743" sldId="2147483711"/>
          </pc:sldLayoutMkLst>
        </pc:sldLayoutChg>
        <pc:sldLayoutChg chg="setBg">
          <pc:chgData name="Timo Gossen" userId="4ec7f864-84f7-407f-b8f9-5c31d0de0089" providerId="ADAL" clId="{571CDA5C-BF26-48DF-9431-1F0E911D99DD}" dt="2020-08-12T15:19:28.305" v="0"/>
          <pc:sldLayoutMkLst>
            <pc:docMk/>
            <pc:sldMasterMk cId="3227279366" sldId="2147483707"/>
            <pc:sldLayoutMk cId="3497068662" sldId="2147483712"/>
          </pc:sldLayoutMkLst>
        </pc:sldLayoutChg>
        <pc:sldLayoutChg chg="setBg">
          <pc:chgData name="Timo Gossen" userId="4ec7f864-84f7-407f-b8f9-5c31d0de0089" providerId="ADAL" clId="{571CDA5C-BF26-48DF-9431-1F0E911D99DD}" dt="2020-08-12T15:19:28.305" v="0"/>
          <pc:sldLayoutMkLst>
            <pc:docMk/>
            <pc:sldMasterMk cId="3227279366" sldId="2147483707"/>
            <pc:sldLayoutMk cId="1053880271" sldId="2147483725"/>
          </pc:sldLayoutMkLst>
        </pc:sldLayoutChg>
        <pc:sldLayoutChg chg="setBg">
          <pc:chgData name="Timo Gossen" userId="4ec7f864-84f7-407f-b8f9-5c31d0de0089" providerId="ADAL" clId="{571CDA5C-BF26-48DF-9431-1F0E911D99DD}" dt="2020-08-12T15:19:28.305" v="0"/>
          <pc:sldLayoutMkLst>
            <pc:docMk/>
            <pc:sldMasterMk cId="3227279366" sldId="2147483707"/>
            <pc:sldLayoutMk cId="3303052394" sldId="2147483726"/>
          </pc:sldLayoutMkLst>
        </pc:sldLayoutChg>
        <pc:sldLayoutChg chg="setBg">
          <pc:chgData name="Timo Gossen" userId="4ec7f864-84f7-407f-b8f9-5c31d0de0089" providerId="ADAL" clId="{571CDA5C-BF26-48DF-9431-1F0E911D99DD}" dt="2020-08-12T15:19:28.305" v="0"/>
          <pc:sldLayoutMkLst>
            <pc:docMk/>
            <pc:sldMasterMk cId="3227279366" sldId="2147483707"/>
            <pc:sldLayoutMk cId="605532167" sldId="2147483727"/>
          </pc:sldLayoutMkLst>
        </pc:sldLayoutChg>
        <pc:sldLayoutChg chg="setBg">
          <pc:chgData name="Timo Gossen" userId="4ec7f864-84f7-407f-b8f9-5c31d0de0089" providerId="ADAL" clId="{571CDA5C-BF26-48DF-9431-1F0E911D99DD}" dt="2020-08-12T15:19:28.305" v="0"/>
          <pc:sldLayoutMkLst>
            <pc:docMk/>
            <pc:sldMasterMk cId="3227279366" sldId="2147483707"/>
            <pc:sldLayoutMk cId="1085849555" sldId="2147483728"/>
          </pc:sldLayoutMkLst>
        </pc:sldLayoutChg>
        <pc:sldLayoutChg chg="setBg">
          <pc:chgData name="Timo Gossen" userId="4ec7f864-84f7-407f-b8f9-5c31d0de0089" providerId="ADAL" clId="{571CDA5C-BF26-48DF-9431-1F0E911D99DD}" dt="2020-08-12T15:19:28.305" v="0"/>
          <pc:sldLayoutMkLst>
            <pc:docMk/>
            <pc:sldMasterMk cId="3227279366" sldId="2147483707"/>
            <pc:sldLayoutMk cId="752453106" sldId="2147483729"/>
          </pc:sldLayoutMkLst>
        </pc:sldLayoutChg>
        <pc:sldLayoutChg chg="setBg">
          <pc:chgData name="Timo Gossen" userId="4ec7f864-84f7-407f-b8f9-5c31d0de0089" providerId="ADAL" clId="{571CDA5C-BF26-48DF-9431-1F0E911D99DD}" dt="2020-08-12T15:19:28.305" v="0"/>
          <pc:sldLayoutMkLst>
            <pc:docMk/>
            <pc:sldMasterMk cId="3227279366" sldId="2147483707"/>
            <pc:sldLayoutMk cId="4137661561" sldId="2147483731"/>
          </pc:sldLayoutMkLst>
        </pc:sldLayoutChg>
        <pc:sldLayoutChg chg="setBg">
          <pc:chgData name="Timo Gossen" userId="4ec7f864-84f7-407f-b8f9-5c31d0de0089" providerId="ADAL" clId="{571CDA5C-BF26-48DF-9431-1F0E911D99DD}" dt="2020-08-12T15:19:28.305" v="0"/>
          <pc:sldLayoutMkLst>
            <pc:docMk/>
            <pc:sldMasterMk cId="3227279366" sldId="2147483707"/>
            <pc:sldLayoutMk cId="3374428911" sldId="2147483732"/>
          </pc:sldLayoutMkLst>
        </pc:sldLayoutChg>
        <pc:sldLayoutChg chg="setBg">
          <pc:chgData name="Timo Gossen" userId="4ec7f864-84f7-407f-b8f9-5c31d0de0089" providerId="ADAL" clId="{571CDA5C-BF26-48DF-9431-1F0E911D99DD}" dt="2020-08-12T15:19:28.305" v="0"/>
          <pc:sldLayoutMkLst>
            <pc:docMk/>
            <pc:sldMasterMk cId="3227279366" sldId="2147483707"/>
            <pc:sldLayoutMk cId="3202967815" sldId="2147483733"/>
          </pc:sldLayoutMkLst>
        </pc:sldLayoutChg>
        <pc:sldLayoutChg chg="setBg">
          <pc:chgData name="Timo Gossen" userId="4ec7f864-84f7-407f-b8f9-5c31d0de0089" providerId="ADAL" clId="{571CDA5C-BF26-48DF-9431-1F0E911D99DD}" dt="2020-08-12T15:19:28.305" v="0"/>
          <pc:sldLayoutMkLst>
            <pc:docMk/>
            <pc:sldMasterMk cId="3227279366" sldId="2147483707"/>
            <pc:sldLayoutMk cId="223326424" sldId="2147483734"/>
          </pc:sldLayoutMkLst>
        </pc:sldLayoutChg>
        <pc:sldLayoutChg chg="setBg">
          <pc:chgData name="Timo Gossen" userId="4ec7f864-84f7-407f-b8f9-5c31d0de0089" providerId="ADAL" clId="{571CDA5C-BF26-48DF-9431-1F0E911D99DD}" dt="2020-08-12T15:19:28.305" v="0"/>
          <pc:sldLayoutMkLst>
            <pc:docMk/>
            <pc:sldMasterMk cId="3227279366" sldId="2147483707"/>
            <pc:sldLayoutMk cId="1678763624" sldId="2147483735"/>
          </pc:sldLayoutMkLst>
        </pc:sldLayoutChg>
        <pc:sldLayoutChg chg="setBg">
          <pc:chgData name="Timo Gossen" userId="4ec7f864-84f7-407f-b8f9-5c31d0de0089" providerId="ADAL" clId="{571CDA5C-BF26-48DF-9431-1F0E911D99DD}" dt="2020-08-12T15:19:28.305" v="0"/>
          <pc:sldLayoutMkLst>
            <pc:docMk/>
            <pc:sldMasterMk cId="3227279366" sldId="2147483707"/>
            <pc:sldLayoutMk cId="4229842488" sldId="2147483736"/>
          </pc:sldLayoutMkLst>
        </pc:sldLayoutChg>
        <pc:sldLayoutChg chg="setBg">
          <pc:chgData name="Timo Gossen" userId="4ec7f864-84f7-407f-b8f9-5c31d0de0089" providerId="ADAL" clId="{571CDA5C-BF26-48DF-9431-1F0E911D99DD}" dt="2020-08-12T15:19:28.305" v="0"/>
          <pc:sldLayoutMkLst>
            <pc:docMk/>
            <pc:sldMasterMk cId="3227279366" sldId="2147483707"/>
            <pc:sldLayoutMk cId="4112591810" sldId="2147483741"/>
          </pc:sldLayoutMkLst>
        </pc:sldLayoutChg>
        <pc:sldLayoutChg chg="setBg">
          <pc:chgData name="Timo Gossen" userId="4ec7f864-84f7-407f-b8f9-5c31d0de0089" providerId="ADAL" clId="{571CDA5C-BF26-48DF-9431-1F0E911D99DD}" dt="2020-08-12T15:19:28.305" v="0"/>
          <pc:sldLayoutMkLst>
            <pc:docMk/>
            <pc:sldMasterMk cId="3227279366" sldId="2147483707"/>
            <pc:sldLayoutMk cId="2676078790" sldId="2147483746"/>
          </pc:sldLayoutMkLst>
        </pc:sldLayoutChg>
      </pc:sldMasterChg>
      <pc:sldMasterChg chg="del delSldLayout modSldLayout">
        <pc:chgData name="Timo Gossen" userId="4ec7f864-84f7-407f-b8f9-5c31d0de0089" providerId="ADAL" clId="{571CDA5C-BF26-48DF-9431-1F0E911D99DD}" dt="2020-08-12T15:21:53.951" v="73" actId="2696"/>
        <pc:sldMasterMkLst>
          <pc:docMk/>
          <pc:sldMasterMk cId="417213329" sldId="2147483719"/>
        </pc:sldMasterMkLst>
        <pc:sldLayoutChg chg="del setBg">
          <pc:chgData name="Timo Gossen" userId="4ec7f864-84f7-407f-b8f9-5c31d0de0089" providerId="ADAL" clId="{571CDA5C-BF26-48DF-9431-1F0E911D99DD}" dt="2020-08-12T15:21:45.897" v="60" actId="2696"/>
          <pc:sldLayoutMkLst>
            <pc:docMk/>
            <pc:sldMasterMk cId="417213329" sldId="2147483719"/>
            <pc:sldLayoutMk cId="2253939410" sldId="2147483720"/>
          </pc:sldLayoutMkLst>
        </pc:sldLayoutChg>
        <pc:sldLayoutChg chg="del setBg">
          <pc:chgData name="Timo Gossen" userId="4ec7f864-84f7-407f-b8f9-5c31d0de0089" providerId="ADAL" clId="{571CDA5C-BF26-48DF-9431-1F0E911D99DD}" dt="2020-08-12T15:21:45.871" v="59" actId="2696"/>
          <pc:sldLayoutMkLst>
            <pc:docMk/>
            <pc:sldMasterMk cId="417213329" sldId="2147483719"/>
            <pc:sldLayoutMk cId="2320754295" sldId="2147483721"/>
          </pc:sldLayoutMkLst>
        </pc:sldLayoutChg>
        <pc:sldLayoutChg chg="del setBg">
          <pc:chgData name="Timo Gossen" userId="4ec7f864-84f7-407f-b8f9-5c31d0de0089" providerId="ADAL" clId="{571CDA5C-BF26-48DF-9431-1F0E911D99DD}" dt="2020-08-12T15:21:45.840" v="58" actId="2696"/>
          <pc:sldLayoutMkLst>
            <pc:docMk/>
            <pc:sldMasterMk cId="417213329" sldId="2147483719"/>
            <pc:sldLayoutMk cId="1577040670" sldId="2147483722"/>
          </pc:sldLayoutMkLst>
        </pc:sldLayoutChg>
        <pc:sldLayoutChg chg="del setBg">
          <pc:chgData name="Timo Gossen" userId="4ec7f864-84f7-407f-b8f9-5c31d0de0089" providerId="ADAL" clId="{571CDA5C-BF26-48DF-9431-1F0E911D99DD}" dt="2020-08-12T15:21:45.798" v="57" actId="2696"/>
          <pc:sldLayoutMkLst>
            <pc:docMk/>
            <pc:sldMasterMk cId="417213329" sldId="2147483719"/>
            <pc:sldLayoutMk cId="3550714484" sldId="2147483723"/>
          </pc:sldLayoutMkLst>
        </pc:sldLayoutChg>
        <pc:sldLayoutChg chg="del setBg">
          <pc:chgData name="Timo Gossen" userId="4ec7f864-84f7-407f-b8f9-5c31d0de0089" providerId="ADAL" clId="{571CDA5C-BF26-48DF-9431-1F0E911D99DD}" dt="2020-08-12T15:21:45.773" v="56" actId="2696"/>
          <pc:sldLayoutMkLst>
            <pc:docMk/>
            <pc:sldMasterMk cId="417213329" sldId="2147483719"/>
            <pc:sldLayoutMk cId="1291704739" sldId="2147483724"/>
          </pc:sldLayoutMkLst>
        </pc:sldLayoutChg>
        <pc:sldLayoutChg chg="del">
          <pc:chgData name="Timo Gossen" userId="4ec7f864-84f7-407f-b8f9-5c31d0de0089" providerId="ADAL" clId="{571CDA5C-BF26-48DF-9431-1F0E911D99DD}" dt="2020-08-12T15:21:45.751" v="55" actId="2696"/>
          <pc:sldLayoutMkLst>
            <pc:docMk/>
            <pc:sldMasterMk cId="417213329" sldId="2147483719"/>
            <pc:sldLayoutMk cId="280399669" sldId="2147483725"/>
          </pc:sldLayoutMkLst>
        </pc:sldLayoutChg>
        <pc:sldLayoutChg chg="del">
          <pc:chgData name="Timo Gossen" userId="4ec7f864-84f7-407f-b8f9-5c31d0de0089" providerId="ADAL" clId="{571CDA5C-BF26-48DF-9431-1F0E911D99DD}" dt="2020-08-12T15:21:45.715" v="54" actId="2696"/>
          <pc:sldLayoutMkLst>
            <pc:docMk/>
            <pc:sldMasterMk cId="417213329" sldId="2147483719"/>
            <pc:sldLayoutMk cId="2883244820" sldId="2147483726"/>
          </pc:sldLayoutMkLst>
        </pc:sldLayoutChg>
        <pc:sldLayoutChg chg="del">
          <pc:chgData name="Timo Gossen" userId="4ec7f864-84f7-407f-b8f9-5c31d0de0089" providerId="ADAL" clId="{571CDA5C-BF26-48DF-9431-1F0E911D99DD}" dt="2020-08-12T15:21:45.679" v="53" actId="2696"/>
          <pc:sldLayoutMkLst>
            <pc:docMk/>
            <pc:sldMasterMk cId="417213329" sldId="2147483719"/>
            <pc:sldLayoutMk cId="581514326" sldId="2147483727"/>
          </pc:sldLayoutMkLst>
        </pc:sldLayoutChg>
        <pc:sldLayoutChg chg="del">
          <pc:chgData name="Timo Gossen" userId="4ec7f864-84f7-407f-b8f9-5c31d0de0089" providerId="ADAL" clId="{571CDA5C-BF26-48DF-9431-1F0E911D99DD}" dt="2020-08-12T15:21:45.646" v="52" actId="2696"/>
          <pc:sldLayoutMkLst>
            <pc:docMk/>
            <pc:sldMasterMk cId="417213329" sldId="2147483719"/>
            <pc:sldLayoutMk cId="3016969540" sldId="2147483728"/>
          </pc:sldLayoutMkLst>
        </pc:sldLayoutChg>
        <pc:sldLayoutChg chg="del">
          <pc:chgData name="Timo Gossen" userId="4ec7f864-84f7-407f-b8f9-5c31d0de0089" providerId="ADAL" clId="{571CDA5C-BF26-48DF-9431-1F0E911D99DD}" dt="2020-08-12T15:21:45.494" v="51" actId="2696"/>
          <pc:sldLayoutMkLst>
            <pc:docMk/>
            <pc:sldMasterMk cId="417213329" sldId="2147483719"/>
            <pc:sldLayoutMk cId="3453048180" sldId="2147483729"/>
          </pc:sldLayoutMkLst>
        </pc:sldLayoutChg>
        <pc:sldLayoutChg chg="del">
          <pc:chgData name="Timo Gossen" userId="4ec7f864-84f7-407f-b8f9-5c31d0de0089" providerId="ADAL" clId="{571CDA5C-BF26-48DF-9431-1F0E911D99DD}" dt="2020-08-12T15:21:45.471" v="50" actId="2696"/>
          <pc:sldLayoutMkLst>
            <pc:docMk/>
            <pc:sldMasterMk cId="417213329" sldId="2147483719"/>
            <pc:sldLayoutMk cId="3862429674" sldId="2147483730"/>
          </pc:sldLayoutMkLst>
        </pc:sldLayoutChg>
        <pc:sldLayoutChg chg="del">
          <pc:chgData name="Timo Gossen" userId="4ec7f864-84f7-407f-b8f9-5c31d0de0089" providerId="ADAL" clId="{571CDA5C-BF26-48DF-9431-1F0E911D99DD}" dt="2020-08-12T15:21:45.391" v="49" actId="2696"/>
          <pc:sldLayoutMkLst>
            <pc:docMk/>
            <pc:sldMasterMk cId="417213329" sldId="2147483719"/>
            <pc:sldLayoutMk cId="3930934186" sldId="2147483731"/>
          </pc:sldLayoutMkLst>
        </pc:sldLayoutChg>
        <pc:sldLayoutChg chg="del">
          <pc:chgData name="Timo Gossen" userId="4ec7f864-84f7-407f-b8f9-5c31d0de0089" providerId="ADAL" clId="{571CDA5C-BF26-48DF-9431-1F0E911D99DD}" dt="2020-08-12T15:21:45.368" v="48" actId="2696"/>
          <pc:sldLayoutMkLst>
            <pc:docMk/>
            <pc:sldMasterMk cId="417213329" sldId="2147483719"/>
            <pc:sldLayoutMk cId="525636511" sldId="2147483732"/>
          </pc:sldLayoutMkLst>
        </pc:sldLayoutChg>
        <pc:sldLayoutChg chg="del">
          <pc:chgData name="Timo Gossen" userId="4ec7f864-84f7-407f-b8f9-5c31d0de0089" providerId="ADAL" clId="{571CDA5C-BF26-48DF-9431-1F0E911D99DD}" dt="2020-08-12T15:21:45.330" v="47" actId="2696"/>
          <pc:sldLayoutMkLst>
            <pc:docMk/>
            <pc:sldMasterMk cId="417213329" sldId="2147483719"/>
            <pc:sldLayoutMk cId="152440990" sldId="2147483733"/>
          </pc:sldLayoutMkLst>
        </pc:sldLayoutChg>
        <pc:sldLayoutChg chg="del">
          <pc:chgData name="Timo Gossen" userId="4ec7f864-84f7-407f-b8f9-5c31d0de0089" providerId="ADAL" clId="{571CDA5C-BF26-48DF-9431-1F0E911D99DD}" dt="2020-08-12T15:21:45.297" v="46" actId="2696"/>
          <pc:sldLayoutMkLst>
            <pc:docMk/>
            <pc:sldMasterMk cId="417213329" sldId="2147483719"/>
            <pc:sldLayoutMk cId="1493522353" sldId="2147483734"/>
          </pc:sldLayoutMkLst>
        </pc:sldLayoutChg>
        <pc:sldLayoutChg chg="del">
          <pc:chgData name="Timo Gossen" userId="4ec7f864-84f7-407f-b8f9-5c31d0de0089" providerId="ADAL" clId="{571CDA5C-BF26-48DF-9431-1F0E911D99DD}" dt="2020-08-12T15:21:45.273" v="45" actId="2696"/>
          <pc:sldLayoutMkLst>
            <pc:docMk/>
            <pc:sldMasterMk cId="417213329" sldId="2147483719"/>
            <pc:sldLayoutMk cId="3410574287" sldId="2147483735"/>
          </pc:sldLayoutMkLst>
        </pc:sldLayoutChg>
        <pc:sldLayoutChg chg="del">
          <pc:chgData name="Timo Gossen" userId="4ec7f864-84f7-407f-b8f9-5c31d0de0089" providerId="ADAL" clId="{571CDA5C-BF26-48DF-9431-1F0E911D99DD}" dt="2020-08-12T15:21:45.252" v="44" actId="2696"/>
          <pc:sldLayoutMkLst>
            <pc:docMk/>
            <pc:sldMasterMk cId="417213329" sldId="2147483719"/>
            <pc:sldLayoutMk cId="3913112963" sldId="2147483736"/>
          </pc:sldLayoutMkLst>
        </pc:sldLayoutChg>
        <pc:sldLayoutChg chg="del setBg">
          <pc:chgData name="Timo Gossen" userId="4ec7f864-84f7-407f-b8f9-5c31d0de0089" providerId="ADAL" clId="{571CDA5C-BF26-48DF-9431-1F0E911D99DD}" dt="2020-08-12T15:21:45.205" v="43" actId="2696"/>
          <pc:sldLayoutMkLst>
            <pc:docMk/>
            <pc:sldMasterMk cId="417213329" sldId="2147483719"/>
            <pc:sldLayoutMk cId="3438819144" sldId="2147483737"/>
          </pc:sldLayoutMkLst>
        </pc:sldLayoutChg>
        <pc:sldLayoutChg chg="del setBg">
          <pc:chgData name="Timo Gossen" userId="4ec7f864-84f7-407f-b8f9-5c31d0de0089" providerId="ADAL" clId="{571CDA5C-BF26-48DF-9431-1F0E911D99DD}" dt="2020-08-12T15:21:45.181" v="42" actId="2696"/>
          <pc:sldLayoutMkLst>
            <pc:docMk/>
            <pc:sldMasterMk cId="417213329" sldId="2147483719"/>
            <pc:sldLayoutMk cId="2946335436" sldId="2147483738"/>
          </pc:sldLayoutMkLst>
        </pc:sldLayoutChg>
        <pc:sldLayoutChg chg="del setBg">
          <pc:chgData name="Timo Gossen" userId="4ec7f864-84f7-407f-b8f9-5c31d0de0089" providerId="ADAL" clId="{571CDA5C-BF26-48DF-9431-1F0E911D99DD}" dt="2020-08-12T15:21:45.158" v="41" actId="2696"/>
          <pc:sldLayoutMkLst>
            <pc:docMk/>
            <pc:sldMasterMk cId="417213329" sldId="2147483719"/>
            <pc:sldLayoutMk cId="191537649" sldId="2147483739"/>
          </pc:sldLayoutMkLst>
        </pc:sldLayoutChg>
        <pc:sldLayoutChg chg="del setBg">
          <pc:chgData name="Timo Gossen" userId="4ec7f864-84f7-407f-b8f9-5c31d0de0089" providerId="ADAL" clId="{571CDA5C-BF26-48DF-9431-1F0E911D99DD}" dt="2020-08-12T15:21:45.128" v="40" actId="2696"/>
          <pc:sldLayoutMkLst>
            <pc:docMk/>
            <pc:sldMasterMk cId="417213329" sldId="2147483719"/>
            <pc:sldLayoutMk cId="4100382028" sldId="2147483740"/>
          </pc:sldLayoutMkLst>
        </pc:sldLayoutChg>
        <pc:sldLayoutChg chg="del setBg">
          <pc:chgData name="Timo Gossen" userId="4ec7f864-84f7-407f-b8f9-5c31d0de0089" providerId="ADAL" clId="{571CDA5C-BF26-48DF-9431-1F0E911D99DD}" dt="2020-08-12T15:21:45.004" v="39" actId="2696"/>
          <pc:sldLayoutMkLst>
            <pc:docMk/>
            <pc:sldMasterMk cId="417213329" sldId="2147483719"/>
            <pc:sldLayoutMk cId="3805649329" sldId="2147483741"/>
          </pc:sldLayoutMkLst>
        </pc:sldLayoutChg>
        <pc:sldLayoutChg chg="del">
          <pc:chgData name="Timo Gossen" userId="4ec7f864-84f7-407f-b8f9-5c31d0de0089" providerId="ADAL" clId="{571CDA5C-BF26-48DF-9431-1F0E911D99DD}" dt="2020-08-12T15:21:44.970" v="38" actId="2696"/>
          <pc:sldLayoutMkLst>
            <pc:docMk/>
            <pc:sldMasterMk cId="417213329" sldId="2147483719"/>
            <pc:sldLayoutMk cId="1459502419" sldId="2147483742"/>
          </pc:sldLayoutMkLst>
        </pc:sldLayoutChg>
        <pc:sldLayoutChg chg="del setBg">
          <pc:chgData name="Timo Gossen" userId="4ec7f864-84f7-407f-b8f9-5c31d0de0089" providerId="ADAL" clId="{571CDA5C-BF26-48DF-9431-1F0E911D99DD}" dt="2020-08-12T15:21:44.952" v="37" actId="2696"/>
          <pc:sldLayoutMkLst>
            <pc:docMk/>
            <pc:sldMasterMk cId="417213329" sldId="2147483719"/>
            <pc:sldLayoutMk cId="769837313" sldId="2147483743"/>
          </pc:sldLayoutMkLst>
        </pc:sldLayoutChg>
        <pc:sldLayoutChg chg="del setBg">
          <pc:chgData name="Timo Gossen" userId="4ec7f864-84f7-407f-b8f9-5c31d0de0089" providerId="ADAL" clId="{571CDA5C-BF26-48DF-9431-1F0E911D99DD}" dt="2020-08-12T15:21:44.903" v="36" actId="2696"/>
          <pc:sldLayoutMkLst>
            <pc:docMk/>
            <pc:sldMasterMk cId="417213329" sldId="2147483719"/>
            <pc:sldLayoutMk cId="1577770122" sldId="2147483744"/>
          </pc:sldLayoutMkLst>
        </pc:sldLayoutChg>
        <pc:sldLayoutChg chg="del setBg">
          <pc:chgData name="Timo Gossen" userId="4ec7f864-84f7-407f-b8f9-5c31d0de0089" providerId="ADAL" clId="{571CDA5C-BF26-48DF-9431-1F0E911D99DD}" dt="2020-08-12T15:21:44.884" v="35" actId="2696"/>
          <pc:sldLayoutMkLst>
            <pc:docMk/>
            <pc:sldMasterMk cId="417213329" sldId="2147483719"/>
            <pc:sldLayoutMk cId="488666338" sldId="2147483745"/>
          </pc:sldLayoutMkLst>
        </pc:sldLayoutChg>
        <pc:sldLayoutChg chg="del setBg">
          <pc:chgData name="Timo Gossen" userId="4ec7f864-84f7-407f-b8f9-5c31d0de0089" providerId="ADAL" clId="{571CDA5C-BF26-48DF-9431-1F0E911D99DD}" dt="2020-08-12T15:21:44.835" v="34" actId="2696"/>
          <pc:sldLayoutMkLst>
            <pc:docMk/>
            <pc:sldMasterMk cId="417213329" sldId="2147483719"/>
            <pc:sldLayoutMk cId="2717617263" sldId="2147483746"/>
          </pc:sldLayoutMkLst>
        </pc:sldLayoutChg>
        <pc:sldLayoutChg chg="del setBg">
          <pc:chgData name="Timo Gossen" userId="4ec7f864-84f7-407f-b8f9-5c31d0de0089" providerId="ADAL" clId="{571CDA5C-BF26-48DF-9431-1F0E911D99DD}" dt="2020-08-12T15:21:44.811" v="33" actId="2696"/>
          <pc:sldLayoutMkLst>
            <pc:docMk/>
            <pc:sldMasterMk cId="417213329" sldId="2147483719"/>
            <pc:sldLayoutMk cId="2234264747" sldId="2147483747"/>
          </pc:sldLayoutMkLst>
        </pc:sldLayoutChg>
        <pc:sldLayoutChg chg="del setBg">
          <pc:chgData name="Timo Gossen" userId="4ec7f864-84f7-407f-b8f9-5c31d0de0089" providerId="ADAL" clId="{571CDA5C-BF26-48DF-9431-1F0E911D99DD}" dt="2020-08-12T15:21:44.770" v="32" actId="2696"/>
          <pc:sldLayoutMkLst>
            <pc:docMk/>
            <pc:sldMasterMk cId="417213329" sldId="2147483719"/>
            <pc:sldLayoutMk cId="1328194097" sldId="2147483748"/>
          </pc:sldLayoutMkLst>
        </pc:sldLayoutChg>
        <pc:sldLayoutChg chg="del">
          <pc:chgData name="Timo Gossen" userId="4ec7f864-84f7-407f-b8f9-5c31d0de0089" providerId="ADAL" clId="{571CDA5C-BF26-48DF-9431-1F0E911D99DD}" dt="2020-08-12T15:21:44.732" v="31" actId="2696"/>
          <pc:sldLayoutMkLst>
            <pc:docMk/>
            <pc:sldMasterMk cId="417213329" sldId="2147483719"/>
            <pc:sldLayoutMk cId="3304289568" sldId="2147483749"/>
          </pc:sldLayoutMkLst>
        </pc:sldLayoutChg>
        <pc:sldLayoutChg chg="del">
          <pc:chgData name="Timo Gossen" userId="4ec7f864-84f7-407f-b8f9-5c31d0de0089" providerId="ADAL" clId="{571CDA5C-BF26-48DF-9431-1F0E911D99DD}" dt="2020-08-12T15:21:44.706" v="30" actId="2696"/>
          <pc:sldLayoutMkLst>
            <pc:docMk/>
            <pc:sldMasterMk cId="417213329" sldId="2147483719"/>
            <pc:sldLayoutMk cId="327882706" sldId="2147483750"/>
          </pc:sldLayoutMkLst>
        </pc:sldLayoutChg>
        <pc:sldLayoutChg chg="del">
          <pc:chgData name="Timo Gossen" userId="4ec7f864-84f7-407f-b8f9-5c31d0de0089" providerId="ADAL" clId="{571CDA5C-BF26-48DF-9431-1F0E911D99DD}" dt="2020-08-12T15:21:44.678" v="29" actId="2696"/>
          <pc:sldLayoutMkLst>
            <pc:docMk/>
            <pc:sldMasterMk cId="417213329" sldId="2147483719"/>
            <pc:sldLayoutMk cId="3704316108" sldId="2147483751"/>
          </pc:sldLayoutMkLst>
        </pc:sldLayoutChg>
        <pc:sldLayoutChg chg="del">
          <pc:chgData name="Timo Gossen" userId="4ec7f864-84f7-407f-b8f9-5c31d0de0089" providerId="ADAL" clId="{571CDA5C-BF26-48DF-9431-1F0E911D99DD}" dt="2020-08-12T15:21:44.655" v="28" actId="2696"/>
          <pc:sldLayoutMkLst>
            <pc:docMk/>
            <pc:sldMasterMk cId="417213329" sldId="2147483719"/>
            <pc:sldLayoutMk cId="2851052423" sldId="2147483752"/>
          </pc:sldLayoutMkLst>
        </pc:sldLayoutChg>
        <pc:sldLayoutChg chg="del setBg">
          <pc:chgData name="Timo Gossen" userId="4ec7f864-84f7-407f-b8f9-5c31d0de0089" providerId="ADAL" clId="{571CDA5C-BF26-48DF-9431-1F0E911D99DD}" dt="2020-08-12T15:21:44.575" v="27" actId="2696"/>
          <pc:sldLayoutMkLst>
            <pc:docMk/>
            <pc:sldMasterMk cId="417213329" sldId="2147483719"/>
            <pc:sldLayoutMk cId="317955675" sldId="2147483753"/>
          </pc:sldLayoutMkLst>
        </pc:sldLayoutChg>
        <pc:sldLayoutChg chg="del">
          <pc:chgData name="Timo Gossen" userId="4ec7f864-84f7-407f-b8f9-5c31d0de0089" providerId="ADAL" clId="{571CDA5C-BF26-48DF-9431-1F0E911D99DD}" dt="2020-08-12T15:21:44.554" v="26" actId="2696"/>
          <pc:sldLayoutMkLst>
            <pc:docMk/>
            <pc:sldMasterMk cId="417213329" sldId="2147483719"/>
            <pc:sldLayoutMk cId="1175496144" sldId="2147483754"/>
          </pc:sldLayoutMkLst>
        </pc:sldLayoutChg>
        <pc:sldLayoutChg chg="del">
          <pc:chgData name="Timo Gossen" userId="4ec7f864-84f7-407f-b8f9-5c31d0de0089" providerId="ADAL" clId="{571CDA5C-BF26-48DF-9431-1F0E911D99DD}" dt="2020-08-12T15:21:44.523" v="25" actId="2696"/>
          <pc:sldLayoutMkLst>
            <pc:docMk/>
            <pc:sldMasterMk cId="417213329" sldId="2147483719"/>
            <pc:sldLayoutMk cId="2584565044" sldId="2147483755"/>
          </pc:sldLayoutMkLst>
        </pc:sldLayoutChg>
        <pc:sldLayoutChg chg="del">
          <pc:chgData name="Timo Gossen" userId="4ec7f864-84f7-407f-b8f9-5c31d0de0089" providerId="ADAL" clId="{571CDA5C-BF26-48DF-9431-1F0E911D99DD}" dt="2020-08-12T15:21:43.644" v="18" actId="2696"/>
          <pc:sldLayoutMkLst>
            <pc:docMk/>
            <pc:sldMasterMk cId="417213329" sldId="2147483719"/>
            <pc:sldLayoutMk cId="3833647834" sldId="2147483756"/>
          </pc:sldLayoutMkLst>
        </pc:sldLayoutChg>
        <pc:sldLayoutChg chg="del">
          <pc:chgData name="Timo Gossen" userId="4ec7f864-84f7-407f-b8f9-5c31d0de0089" providerId="ADAL" clId="{571CDA5C-BF26-48DF-9431-1F0E911D99DD}" dt="2020-08-12T15:21:44.147" v="19" actId="2696"/>
          <pc:sldLayoutMkLst>
            <pc:docMk/>
            <pc:sldMasterMk cId="417213329" sldId="2147483719"/>
            <pc:sldLayoutMk cId="3533794927" sldId="2147483757"/>
          </pc:sldLayoutMkLst>
        </pc:sldLayoutChg>
        <pc:sldLayoutChg chg="del setBg">
          <pc:chgData name="Timo Gossen" userId="4ec7f864-84f7-407f-b8f9-5c31d0de0089" providerId="ADAL" clId="{571CDA5C-BF26-48DF-9431-1F0E911D99DD}" dt="2020-08-12T15:21:44.173" v="20" actId="2696"/>
          <pc:sldLayoutMkLst>
            <pc:docMk/>
            <pc:sldMasterMk cId="417213329" sldId="2147483719"/>
            <pc:sldLayoutMk cId="438032852" sldId="2147483758"/>
          </pc:sldLayoutMkLst>
        </pc:sldLayoutChg>
        <pc:sldLayoutChg chg="del">
          <pc:chgData name="Timo Gossen" userId="4ec7f864-84f7-407f-b8f9-5c31d0de0089" providerId="ADAL" clId="{571CDA5C-BF26-48DF-9431-1F0E911D99DD}" dt="2020-08-12T15:21:44.210" v="21" actId="2696"/>
          <pc:sldLayoutMkLst>
            <pc:docMk/>
            <pc:sldMasterMk cId="417213329" sldId="2147483719"/>
            <pc:sldLayoutMk cId="2548120502" sldId="2147483759"/>
          </pc:sldLayoutMkLst>
        </pc:sldLayoutChg>
        <pc:sldLayoutChg chg="del">
          <pc:chgData name="Timo Gossen" userId="4ec7f864-84f7-407f-b8f9-5c31d0de0089" providerId="ADAL" clId="{571CDA5C-BF26-48DF-9431-1F0E911D99DD}" dt="2020-08-12T15:21:44.369" v="22" actId="2696"/>
          <pc:sldLayoutMkLst>
            <pc:docMk/>
            <pc:sldMasterMk cId="417213329" sldId="2147483719"/>
            <pc:sldLayoutMk cId="4258764510" sldId="2147483760"/>
          </pc:sldLayoutMkLst>
        </pc:sldLayoutChg>
        <pc:sldLayoutChg chg="del">
          <pc:chgData name="Timo Gossen" userId="4ec7f864-84f7-407f-b8f9-5c31d0de0089" providerId="ADAL" clId="{571CDA5C-BF26-48DF-9431-1F0E911D99DD}" dt="2020-08-12T15:21:44.436" v="23" actId="2696"/>
          <pc:sldLayoutMkLst>
            <pc:docMk/>
            <pc:sldMasterMk cId="417213329" sldId="2147483719"/>
            <pc:sldLayoutMk cId="3573106365" sldId="2147483761"/>
          </pc:sldLayoutMkLst>
        </pc:sldLayoutChg>
        <pc:sldLayoutChg chg="del">
          <pc:chgData name="Timo Gossen" userId="4ec7f864-84f7-407f-b8f9-5c31d0de0089" providerId="ADAL" clId="{571CDA5C-BF26-48DF-9431-1F0E911D99DD}" dt="2020-08-12T15:21:44.472" v="24" actId="2696"/>
          <pc:sldLayoutMkLst>
            <pc:docMk/>
            <pc:sldMasterMk cId="417213329" sldId="2147483719"/>
            <pc:sldLayoutMk cId="3648754847" sldId="2147483762"/>
          </pc:sldLayoutMkLst>
        </pc:sldLayoutChg>
      </pc:sldMasterChg>
      <pc:sldMasterChg chg="new del mod addSldLayout delSldLayout">
        <pc:chgData name="Timo Gossen" userId="4ec7f864-84f7-407f-b8f9-5c31d0de0089" providerId="ADAL" clId="{571CDA5C-BF26-48DF-9431-1F0E911D99DD}" dt="2020-08-12T15:21:19.522" v="17" actId="2696"/>
        <pc:sldMasterMkLst>
          <pc:docMk/>
          <pc:sldMasterMk cId="4029362103" sldId="2147483763"/>
        </pc:sldMasterMkLst>
        <pc:sldLayoutChg chg="new del replId">
          <pc:chgData name="Timo Gossen" userId="4ec7f864-84f7-407f-b8f9-5c31d0de0089" providerId="ADAL" clId="{571CDA5C-BF26-48DF-9431-1F0E911D99DD}" dt="2020-08-12T15:21:19.471" v="6" actId="2696"/>
          <pc:sldLayoutMkLst>
            <pc:docMk/>
            <pc:sldMasterMk cId="4029362103" sldId="2147483763"/>
            <pc:sldLayoutMk cId="1552918295" sldId="2147483764"/>
          </pc:sldLayoutMkLst>
        </pc:sldLayoutChg>
        <pc:sldLayoutChg chg="new del replId">
          <pc:chgData name="Timo Gossen" userId="4ec7f864-84f7-407f-b8f9-5c31d0de0089" providerId="ADAL" clId="{571CDA5C-BF26-48DF-9431-1F0E911D99DD}" dt="2020-08-12T15:21:19.474" v="7" actId="2696"/>
          <pc:sldLayoutMkLst>
            <pc:docMk/>
            <pc:sldMasterMk cId="4029362103" sldId="2147483763"/>
            <pc:sldLayoutMk cId="2311366032" sldId="2147483765"/>
          </pc:sldLayoutMkLst>
        </pc:sldLayoutChg>
        <pc:sldLayoutChg chg="new del replId">
          <pc:chgData name="Timo Gossen" userId="4ec7f864-84f7-407f-b8f9-5c31d0de0089" providerId="ADAL" clId="{571CDA5C-BF26-48DF-9431-1F0E911D99DD}" dt="2020-08-12T15:21:19.477" v="8" actId="2696"/>
          <pc:sldLayoutMkLst>
            <pc:docMk/>
            <pc:sldMasterMk cId="4029362103" sldId="2147483763"/>
            <pc:sldLayoutMk cId="950917166" sldId="2147483766"/>
          </pc:sldLayoutMkLst>
        </pc:sldLayoutChg>
        <pc:sldLayoutChg chg="new del replId">
          <pc:chgData name="Timo Gossen" userId="4ec7f864-84f7-407f-b8f9-5c31d0de0089" providerId="ADAL" clId="{571CDA5C-BF26-48DF-9431-1F0E911D99DD}" dt="2020-08-12T15:21:19.482" v="9" actId="2696"/>
          <pc:sldLayoutMkLst>
            <pc:docMk/>
            <pc:sldMasterMk cId="4029362103" sldId="2147483763"/>
            <pc:sldLayoutMk cId="3961782766" sldId="2147483767"/>
          </pc:sldLayoutMkLst>
        </pc:sldLayoutChg>
        <pc:sldLayoutChg chg="new del replId">
          <pc:chgData name="Timo Gossen" userId="4ec7f864-84f7-407f-b8f9-5c31d0de0089" providerId="ADAL" clId="{571CDA5C-BF26-48DF-9431-1F0E911D99DD}" dt="2020-08-12T15:21:19.486" v="10" actId="2696"/>
          <pc:sldLayoutMkLst>
            <pc:docMk/>
            <pc:sldMasterMk cId="4029362103" sldId="2147483763"/>
            <pc:sldLayoutMk cId="2209124577" sldId="2147483768"/>
          </pc:sldLayoutMkLst>
        </pc:sldLayoutChg>
        <pc:sldLayoutChg chg="new del replId">
          <pc:chgData name="Timo Gossen" userId="4ec7f864-84f7-407f-b8f9-5c31d0de0089" providerId="ADAL" clId="{571CDA5C-BF26-48DF-9431-1F0E911D99DD}" dt="2020-08-12T15:21:19.490" v="11" actId="2696"/>
          <pc:sldLayoutMkLst>
            <pc:docMk/>
            <pc:sldMasterMk cId="4029362103" sldId="2147483763"/>
            <pc:sldLayoutMk cId="770834549" sldId="2147483769"/>
          </pc:sldLayoutMkLst>
        </pc:sldLayoutChg>
        <pc:sldLayoutChg chg="new del replId">
          <pc:chgData name="Timo Gossen" userId="4ec7f864-84f7-407f-b8f9-5c31d0de0089" providerId="ADAL" clId="{571CDA5C-BF26-48DF-9431-1F0E911D99DD}" dt="2020-08-12T15:21:19.495" v="12" actId="2696"/>
          <pc:sldLayoutMkLst>
            <pc:docMk/>
            <pc:sldMasterMk cId="4029362103" sldId="2147483763"/>
            <pc:sldLayoutMk cId="3028315990" sldId="2147483770"/>
          </pc:sldLayoutMkLst>
        </pc:sldLayoutChg>
        <pc:sldLayoutChg chg="new del replId">
          <pc:chgData name="Timo Gossen" userId="4ec7f864-84f7-407f-b8f9-5c31d0de0089" providerId="ADAL" clId="{571CDA5C-BF26-48DF-9431-1F0E911D99DD}" dt="2020-08-12T15:21:19.500" v="13" actId="2696"/>
          <pc:sldLayoutMkLst>
            <pc:docMk/>
            <pc:sldMasterMk cId="4029362103" sldId="2147483763"/>
            <pc:sldLayoutMk cId="3839486652" sldId="2147483771"/>
          </pc:sldLayoutMkLst>
        </pc:sldLayoutChg>
        <pc:sldLayoutChg chg="new del replId">
          <pc:chgData name="Timo Gossen" userId="4ec7f864-84f7-407f-b8f9-5c31d0de0089" providerId="ADAL" clId="{571CDA5C-BF26-48DF-9431-1F0E911D99DD}" dt="2020-08-12T15:21:19.505" v="14" actId="2696"/>
          <pc:sldLayoutMkLst>
            <pc:docMk/>
            <pc:sldMasterMk cId="4029362103" sldId="2147483763"/>
            <pc:sldLayoutMk cId="257946634" sldId="2147483772"/>
          </pc:sldLayoutMkLst>
        </pc:sldLayoutChg>
        <pc:sldLayoutChg chg="new del replId">
          <pc:chgData name="Timo Gossen" userId="4ec7f864-84f7-407f-b8f9-5c31d0de0089" providerId="ADAL" clId="{571CDA5C-BF26-48DF-9431-1F0E911D99DD}" dt="2020-08-12T15:21:19.510" v="15" actId="2696"/>
          <pc:sldLayoutMkLst>
            <pc:docMk/>
            <pc:sldMasterMk cId="4029362103" sldId="2147483763"/>
            <pc:sldLayoutMk cId="3660888018" sldId="2147483773"/>
          </pc:sldLayoutMkLst>
        </pc:sldLayoutChg>
        <pc:sldLayoutChg chg="new del replId">
          <pc:chgData name="Timo Gossen" userId="4ec7f864-84f7-407f-b8f9-5c31d0de0089" providerId="ADAL" clId="{571CDA5C-BF26-48DF-9431-1F0E911D99DD}" dt="2020-08-12T15:21:19.515" v="16" actId="2696"/>
          <pc:sldLayoutMkLst>
            <pc:docMk/>
            <pc:sldMasterMk cId="4029362103" sldId="2147483763"/>
            <pc:sldLayoutMk cId="2232731112" sldId="2147483774"/>
          </pc:sldLayoutMkLst>
        </pc:sldLayoutChg>
      </pc:sldMasterChg>
    </pc:docChg>
  </pc:docChgLst>
  <pc:docChgLst>
    <pc:chgData name="Reed Wolfe" userId="S::reedw@microsoft.com::d05f6079-100b-4fbc-abf2-3407048ef9c5" providerId="AD" clId="Web-{0EBAAE9F-0090-0000-D168-AA10030E10C3}"/>
    <pc:docChg chg="modSld">
      <pc:chgData name="Reed Wolfe" userId="S::reedw@microsoft.com::d05f6079-100b-4fbc-abf2-3407048ef9c5" providerId="AD" clId="Web-{0EBAAE9F-0090-0000-D168-AA10030E10C3}" dt="2021-02-25T13:50:53.241" v="4"/>
      <pc:docMkLst>
        <pc:docMk/>
      </pc:docMkLst>
      <pc:sldChg chg="modSp">
        <pc:chgData name="Reed Wolfe" userId="S::reedw@microsoft.com::d05f6079-100b-4fbc-abf2-3407048ef9c5" providerId="AD" clId="Web-{0EBAAE9F-0090-0000-D168-AA10030E10C3}" dt="2021-02-25T13:50:53.241" v="4"/>
        <pc:sldMkLst>
          <pc:docMk/>
          <pc:sldMk cId="2345068032" sldId="1786"/>
        </pc:sldMkLst>
        <pc:graphicFrameChg chg="mod modGraphic">
          <ac:chgData name="Reed Wolfe" userId="S::reedw@microsoft.com::d05f6079-100b-4fbc-abf2-3407048ef9c5" providerId="AD" clId="Web-{0EBAAE9F-0090-0000-D168-AA10030E10C3}" dt="2021-02-25T13:50:53.241" v="4"/>
          <ac:graphicFrameMkLst>
            <pc:docMk/>
            <pc:sldMk cId="2345068032" sldId="1786"/>
            <ac:graphicFrameMk id="4" creationId="{9E04F86D-C834-4ACE-86A6-012EE8D90DEB}"/>
          </ac:graphicFrameMkLst>
        </pc:graphicFrameChg>
      </pc:sldChg>
      <pc:sldChg chg="modSp">
        <pc:chgData name="Reed Wolfe" userId="S::reedw@microsoft.com::d05f6079-100b-4fbc-abf2-3407048ef9c5" providerId="AD" clId="Web-{0EBAAE9F-0090-0000-D168-AA10030E10C3}" dt="2021-02-25T13:50:37.662" v="0" actId="20577"/>
        <pc:sldMkLst>
          <pc:docMk/>
          <pc:sldMk cId="856216650" sldId="10223"/>
        </pc:sldMkLst>
        <pc:spChg chg="mod">
          <ac:chgData name="Reed Wolfe" userId="S::reedw@microsoft.com::d05f6079-100b-4fbc-abf2-3407048ef9c5" providerId="AD" clId="Web-{0EBAAE9F-0090-0000-D168-AA10030E10C3}" dt="2021-02-25T13:50:37.662" v="0" actId="20577"/>
          <ac:spMkLst>
            <pc:docMk/>
            <pc:sldMk cId="856216650" sldId="10223"/>
            <ac:spMk id="5" creationId="{E5DC63EE-DBB0-49B8-A6C8-6875675C302B}"/>
          </ac:spMkLst>
        </pc:spChg>
      </pc:sldChg>
      <pc:sldChg chg="modSp">
        <pc:chgData name="Reed Wolfe" userId="S::reedw@microsoft.com::d05f6079-100b-4fbc-abf2-3407048ef9c5" providerId="AD" clId="Web-{0EBAAE9F-0090-0000-D168-AA10030E10C3}" dt="2021-02-25T13:50:41.866" v="1" actId="20577"/>
        <pc:sldMkLst>
          <pc:docMk/>
          <pc:sldMk cId="2351599916" sldId="10227"/>
        </pc:sldMkLst>
        <pc:spChg chg="mod">
          <ac:chgData name="Reed Wolfe" userId="S::reedw@microsoft.com::d05f6079-100b-4fbc-abf2-3407048ef9c5" providerId="AD" clId="Web-{0EBAAE9F-0090-0000-D168-AA10030E10C3}" dt="2021-02-25T13:50:41.866" v="1" actId="20577"/>
          <ac:spMkLst>
            <pc:docMk/>
            <pc:sldMk cId="2351599916" sldId="10227"/>
            <ac:spMk id="5" creationId="{E5DC63EE-DBB0-49B8-A6C8-6875675C302B}"/>
          </ac:spMkLst>
        </pc:spChg>
      </pc:sldChg>
      <pc:sldChg chg="modSp">
        <pc:chgData name="Reed Wolfe" userId="S::reedw@microsoft.com::d05f6079-100b-4fbc-abf2-3407048ef9c5" providerId="AD" clId="Web-{0EBAAE9F-0090-0000-D168-AA10030E10C3}" dt="2021-02-25T13:50:44.506" v="2" actId="20577"/>
        <pc:sldMkLst>
          <pc:docMk/>
          <pc:sldMk cId="1536065476" sldId="10228"/>
        </pc:sldMkLst>
        <pc:spChg chg="mod">
          <ac:chgData name="Reed Wolfe" userId="S::reedw@microsoft.com::d05f6079-100b-4fbc-abf2-3407048ef9c5" providerId="AD" clId="Web-{0EBAAE9F-0090-0000-D168-AA10030E10C3}" dt="2021-02-25T13:50:44.506" v="2" actId="20577"/>
          <ac:spMkLst>
            <pc:docMk/>
            <pc:sldMk cId="1536065476" sldId="10228"/>
            <ac:spMk id="5" creationId="{E5DC63EE-DBB0-49B8-A6C8-6875675C302B}"/>
          </ac:spMkLst>
        </pc:spChg>
      </pc:sldChg>
    </pc:docChg>
  </pc:docChgLst>
  <pc:docChgLst>
    <pc:chgData name="Christopher Lim" userId="f968ec5d-ece7-49c7-b2a7-1e73f064a379" providerId="ADAL" clId="{48ACA6EC-68B5-4A71-882E-C58C313774C2}"/>
    <pc:docChg chg="undo custSel delSld modSld modSection">
      <pc:chgData name="Christopher Lim" userId="f968ec5d-ece7-49c7-b2a7-1e73f064a379" providerId="ADAL" clId="{48ACA6EC-68B5-4A71-882E-C58C313774C2}" dt="2020-08-12T16:06:59.363" v="95" actId="47"/>
      <pc:docMkLst>
        <pc:docMk/>
      </pc:docMkLst>
      <pc:sldChg chg="addSp delSp modSp mod">
        <pc:chgData name="Christopher Lim" userId="f968ec5d-ece7-49c7-b2a7-1e73f064a379" providerId="ADAL" clId="{48ACA6EC-68B5-4A71-882E-C58C313774C2}" dt="2020-08-12T16:06:44.616" v="94" actId="13926"/>
        <pc:sldMkLst>
          <pc:docMk/>
          <pc:sldMk cId="2356428871" sldId="3131"/>
        </pc:sldMkLst>
        <pc:spChg chg="mod">
          <ac:chgData name="Christopher Lim" userId="f968ec5d-ece7-49c7-b2a7-1e73f064a379" providerId="ADAL" clId="{48ACA6EC-68B5-4A71-882E-C58C313774C2}" dt="2020-08-12T16:04:57.221" v="15" actId="14100"/>
          <ac:spMkLst>
            <pc:docMk/>
            <pc:sldMk cId="2356428871" sldId="3131"/>
            <ac:spMk id="20" creationId="{9C4A0BF9-E23F-4CFA-BFB9-1923DF03340F}"/>
          </ac:spMkLst>
        </pc:spChg>
        <pc:spChg chg="mod">
          <ac:chgData name="Christopher Lim" userId="f968ec5d-ece7-49c7-b2a7-1e73f064a379" providerId="ADAL" clId="{48ACA6EC-68B5-4A71-882E-C58C313774C2}" dt="2020-08-12T16:06:23.722" v="76" actId="20577"/>
          <ac:spMkLst>
            <pc:docMk/>
            <pc:sldMk cId="2356428871" sldId="3131"/>
            <ac:spMk id="26" creationId="{060B385F-DDAB-4620-9658-189E6CCEF254}"/>
          </ac:spMkLst>
        </pc:spChg>
        <pc:spChg chg="mod">
          <ac:chgData name="Christopher Lim" userId="f968ec5d-ece7-49c7-b2a7-1e73f064a379" providerId="ADAL" clId="{48ACA6EC-68B5-4A71-882E-C58C313774C2}" dt="2020-08-12T16:05:56.847" v="41" actId="13926"/>
          <ac:spMkLst>
            <pc:docMk/>
            <pc:sldMk cId="2356428871" sldId="3131"/>
            <ac:spMk id="46" creationId="{423E3344-0D3E-40C6-A30D-D9146C16FFD2}"/>
          </ac:spMkLst>
        </pc:spChg>
        <pc:spChg chg="mod">
          <ac:chgData name="Christopher Lim" userId="f968ec5d-ece7-49c7-b2a7-1e73f064a379" providerId="ADAL" clId="{48ACA6EC-68B5-4A71-882E-C58C313774C2}" dt="2020-08-12T16:06:44.616" v="94" actId="13926"/>
          <ac:spMkLst>
            <pc:docMk/>
            <pc:sldMk cId="2356428871" sldId="3131"/>
            <ac:spMk id="47" creationId="{3153E1ED-F3FC-47BC-86FF-ABC256FF54B7}"/>
          </ac:spMkLst>
        </pc:spChg>
        <pc:graphicFrameChg chg="add del modGraphic">
          <ac:chgData name="Christopher Lim" userId="f968ec5d-ece7-49c7-b2a7-1e73f064a379" providerId="ADAL" clId="{48ACA6EC-68B5-4A71-882E-C58C313774C2}" dt="2020-08-12T16:04:22.215" v="1" actId="27309"/>
          <ac:graphicFrameMkLst>
            <pc:docMk/>
            <pc:sldMk cId="2356428871" sldId="3131"/>
            <ac:graphicFrameMk id="4" creationId="{28FA89F3-A517-4FF9-B5B4-E92EAC1AD9BB}"/>
          </ac:graphicFrameMkLst>
        </pc:graphicFrameChg>
      </pc:sldChg>
      <pc:sldChg chg="del">
        <pc:chgData name="Christopher Lim" userId="f968ec5d-ece7-49c7-b2a7-1e73f064a379" providerId="ADAL" clId="{48ACA6EC-68B5-4A71-882E-C58C313774C2}" dt="2020-08-12T16:06:59.363" v="95" actId="47"/>
        <pc:sldMkLst>
          <pc:docMk/>
          <pc:sldMk cId="3035781452" sldId="10221"/>
        </pc:sldMkLst>
      </pc:sldChg>
    </pc:docChg>
  </pc:docChgLst>
  <pc:docChgLst>
    <pc:chgData name="Reed Wolfe" userId="S::reedw@microsoft.com::d05f6079-100b-4fbc-abf2-3407048ef9c5" providerId="AD" clId="Web-{7FF479AB-E7F0-9EF2-E407-08FBE2A57DAE}"/>
    <pc:docChg chg="mod modSld">
      <pc:chgData name="Reed Wolfe" userId="S::reedw@microsoft.com::d05f6079-100b-4fbc-abf2-3407048ef9c5" providerId="AD" clId="Web-{7FF479AB-E7F0-9EF2-E407-08FBE2A57DAE}" dt="2021-01-29T17:05:50.910" v="85"/>
      <pc:docMkLst>
        <pc:docMk/>
      </pc:docMkLst>
      <pc:sldChg chg="modSp addCm">
        <pc:chgData name="Reed Wolfe" userId="S::reedw@microsoft.com::d05f6079-100b-4fbc-abf2-3407048ef9c5" providerId="AD" clId="Web-{7FF479AB-E7F0-9EF2-E407-08FBE2A57DAE}" dt="2021-01-29T17:05:50.910" v="85"/>
        <pc:sldMkLst>
          <pc:docMk/>
          <pc:sldMk cId="2356428871" sldId="3131"/>
        </pc:sldMkLst>
        <pc:spChg chg="mod">
          <ac:chgData name="Reed Wolfe" userId="S::reedw@microsoft.com::d05f6079-100b-4fbc-abf2-3407048ef9c5" providerId="AD" clId="Web-{7FF479AB-E7F0-9EF2-E407-08FBE2A57DAE}" dt="2021-01-28T14:45:25.672" v="83" actId="14100"/>
          <ac:spMkLst>
            <pc:docMk/>
            <pc:sldMk cId="2356428871" sldId="3131"/>
            <ac:spMk id="6" creationId="{0C400C65-E4D0-41D9-93F7-AC932CB1C30A}"/>
          </ac:spMkLst>
        </pc:spChg>
        <pc:spChg chg="mod">
          <ac:chgData name="Reed Wolfe" userId="S::reedw@microsoft.com::d05f6079-100b-4fbc-abf2-3407048ef9c5" providerId="AD" clId="Web-{7FF479AB-E7F0-9EF2-E407-08FBE2A57DAE}" dt="2021-01-28T14:42:23.052" v="22" actId="20577"/>
          <ac:spMkLst>
            <pc:docMk/>
            <pc:sldMk cId="2356428871" sldId="3131"/>
            <ac:spMk id="30" creationId="{5A74064D-DD39-48F6-894C-9D44E1757055}"/>
          </ac:spMkLst>
        </pc:spChg>
        <pc:spChg chg="mod">
          <ac:chgData name="Reed Wolfe" userId="S::reedw@microsoft.com::d05f6079-100b-4fbc-abf2-3407048ef9c5" providerId="AD" clId="Web-{7FF479AB-E7F0-9EF2-E407-08FBE2A57DAE}" dt="2021-01-28T14:45:19.469" v="81" actId="20577"/>
          <ac:spMkLst>
            <pc:docMk/>
            <pc:sldMk cId="2356428871" sldId="3131"/>
            <ac:spMk id="46" creationId="{423E3344-0D3E-40C6-A30D-D9146C16FFD2}"/>
          </ac:spMkLst>
        </pc:spChg>
      </pc:sldChg>
    </pc:docChg>
  </pc:docChgLst>
  <pc:docChgLst>
    <pc:chgData name="Darren Liu" userId="a827a500-99cf-46af-9626-c1cd8c563e3d" providerId="ADAL" clId="{CC1C0C82-7462-49F6-AC5B-BC1EA6E2469F}"/>
    <pc:docChg chg="undo custSel addSld delSld sldOrd modSection">
      <pc:chgData name="Darren Liu" userId="a827a500-99cf-46af-9626-c1cd8c563e3d" providerId="ADAL" clId="{CC1C0C82-7462-49F6-AC5B-BC1EA6E2469F}" dt="2020-03-10T14:27:24.892" v="2" actId="680"/>
      <pc:docMkLst>
        <pc:docMk/>
      </pc:docMkLst>
      <pc:sldChg chg="ord">
        <pc:chgData name="Darren Liu" userId="a827a500-99cf-46af-9626-c1cd8c563e3d" providerId="ADAL" clId="{CC1C0C82-7462-49F6-AC5B-BC1EA6E2469F}" dt="2020-03-10T14:16:48.328" v="0" actId="20578"/>
        <pc:sldMkLst>
          <pc:docMk/>
          <pc:sldMk cId="2271845760" sldId="1800"/>
        </pc:sldMkLst>
      </pc:sldChg>
      <pc:sldChg chg="new del">
        <pc:chgData name="Darren Liu" userId="a827a500-99cf-46af-9626-c1cd8c563e3d" providerId="ADAL" clId="{CC1C0C82-7462-49F6-AC5B-BC1EA6E2469F}" dt="2020-03-10T14:27:24.892" v="2" actId="680"/>
        <pc:sldMkLst>
          <pc:docMk/>
          <pc:sldMk cId="3051067224" sldId="10221"/>
        </pc:sldMkLst>
      </pc:sldChg>
    </pc:docChg>
  </pc:docChgLst>
  <pc:docChgLst>
    <pc:chgData name="Reed Wolfe" userId="S::reedw@microsoft.com::d05f6079-100b-4fbc-abf2-3407048ef9c5" providerId="AD" clId="Web-{6FDABDCF-76D8-9630-7D23-CBA42B309A25}"/>
    <pc:docChg chg="modSld">
      <pc:chgData name="Reed Wolfe" userId="S::reedw@microsoft.com::d05f6079-100b-4fbc-abf2-3407048ef9c5" providerId="AD" clId="Web-{6FDABDCF-76D8-9630-7D23-CBA42B309A25}" dt="2021-04-02T16:17:50.722" v="100" actId="20577"/>
      <pc:docMkLst>
        <pc:docMk/>
      </pc:docMkLst>
      <pc:sldChg chg="modSp">
        <pc:chgData name="Reed Wolfe" userId="S::reedw@microsoft.com::d05f6079-100b-4fbc-abf2-3407048ef9c5" providerId="AD" clId="Web-{6FDABDCF-76D8-9630-7D23-CBA42B309A25}" dt="2021-04-02T13:32:37.338" v="2" actId="20577"/>
        <pc:sldMkLst>
          <pc:docMk/>
          <pc:sldMk cId="1094870920" sldId="1735"/>
        </pc:sldMkLst>
        <pc:spChg chg="mod">
          <ac:chgData name="Reed Wolfe" userId="S::reedw@microsoft.com::d05f6079-100b-4fbc-abf2-3407048ef9c5" providerId="AD" clId="Web-{6FDABDCF-76D8-9630-7D23-CBA42B309A25}" dt="2021-04-02T13:32:37.338" v="2" actId="20577"/>
          <ac:spMkLst>
            <pc:docMk/>
            <pc:sldMk cId="1094870920" sldId="1735"/>
            <ac:spMk id="99" creationId="{FC4B0DC5-704F-4EF8-8C8D-57B005D97A11}"/>
          </ac:spMkLst>
        </pc:spChg>
      </pc:sldChg>
      <pc:sldChg chg="modSp">
        <pc:chgData name="Reed Wolfe" userId="S::reedw@microsoft.com::d05f6079-100b-4fbc-abf2-3407048ef9c5" providerId="AD" clId="Web-{6FDABDCF-76D8-9630-7D23-CBA42B309A25}" dt="2021-04-02T14:31:25.407" v="64"/>
        <pc:sldMkLst>
          <pc:docMk/>
          <pc:sldMk cId="2345068032" sldId="1786"/>
        </pc:sldMkLst>
        <pc:graphicFrameChg chg="mod modGraphic">
          <ac:chgData name="Reed Wolfe" userId="S::reedw@microsoft.com::d05f6079-100b-4fbc-abf2-3407048ef9c5" providerId="AD" clId="Web-{6FDABDCF-76D8-9630-7D23-CBA42B309A25}" dt="2021-04-02T14:31:25.407" v="64"/>
          <ac:graphicFrameMkLst>
            <pc:docMk/>
            <pc:sldMk cId="2345068032" sldId="1786"/>
            <ac:graphicFrameMk id="4" creationId="{9E04F86D-C834-4ACE-86A6-012EE8D90DEB}"/>
          </ac:graphicFrameMkLst>
        </pc:graphicFrameChg>
      </pc:sldChg>
      <pc:sldChg chg="modSp">
        <pc:chgData name="Reed Wolfe" userId="S::reedw@microsoft.com::d05f6079-100b-4fbc-abf2-3407048ef9c5" providerId="AD" clId="Web-{6FDABDCF-76D8-9630-7D23-CBA42B309A25}" dt="2021-04-02T16:17:50.722" v="100" actId="20577"/>
        <pc:sldMkLst>
          <pc:docMk/>
          <pc:sldMk cId="2744971081" sldId="10226"/>
        </pc:sldMkLst>
        <pc:spChg chg="mod">
          <ac:chgData name="Reed Wolfe" userId="S::reedw@microsoft.com::d05f6079-100b-4fbc-abf2-3407048ef9c5" providerId="AD" clId="Web-{6FDABDCF-76D8-9630-7D23-CBA42B309A25}" dt="2021-04-02T16:17:50.722" v="100" actId="20577"/>
          <ac:spMkLst>
            <pc:docMk/>
            <pc:sldMk cId="2744971081" sldId="10226"/>
            <ac:spMk id="74" creationId="{D6DB623E-5BE1-4E5F-B54F-B6C5E9272ED0}"/>
          </ac:spMkLst>
        </pc:spChg>
        <pc:grpChg chg="mod">
          <ac:chgData name="Reed Wolfe" userId="S::reedw@microsoft.com::d05f6079-100b-4fbc-abf2-3407048ef9c5" providerId="AD" clId="Web-{6FDABDCF-76D8-9630-7D23-CBA42B309A25}" dt="2021-04-02T16:03:39.766" v="65" actId="1076"/>
          <ac:grpSpMkLst>
            <pc:docMk/>
            <pc:sldMk cId="2744971081" sldId="10226"/>
            <ac:grpSpMk id="73" creationId="{AEE11099-064A-431F-8AE0-CE84BAA66EA9}"/>
          </ac:grpSpMkLst>
        </pc:grpChg>
      </pc:sldChg>
    </pc:docChg>
  </pc:docChgLst>
  <pc:docChgLst>
    <pc:chgData name="Reed Wolfe" userId="d05f6079-100b-4fbc-abf2-3407048ef9c5" providerId="ADAL" clId="{D34C5CF5-3A29-4FCF-885C-A575D13843A8}"/>
    <pc:docChg chg="custSel addSld modSld modSection">
      <pc:chgData name="Reed Wolfe" userId="d05f6079-100b-4fbc-abf2-3407048ef9c5" providerId="ADAL" clId="{D34C5CF5-3A29-4FCF-885C-A575D13843A8}" dt="2021-02-25T14:31:56.709" v="1386" actId="20577"/>
      <pc:docMkLst>
        <pc:docMk/>
      </pc:docMkLst>
      <pc:sldChg chg="modSp mod">
        <pc:chgData name="Reed Wolfe" userId="d05f6079-100b-4fbc-abf2-3407048ef9c5" providerId="ADAL" clId="{D34C5CF5-3A29-4FCF-885C-A575D13843A8}" dt="2021-01-29T21:20:13.704" v="543" actId="207"/>
        <pc:sldMkLst>
          <pc:docMk/>
          <pc:sldMk cId="1094870920" sldId="1735"/>
        </pc:sldMkLst>
        <pc:spChg chg="mod">
          <ac:chgData name="Reed Wolfe" userId="d05f6079-100b-4fbc-abf2-3407048ef9c5" providerId="ADAL" clId="{D34C5CF5-3A29-4FCF-885C-A575D13843A8}" dt="2021-01-29T21:20:13.704" v="543" actId="207"/>
          <ac:spMkLst>
            <pc:docMk/>
            <pc:sldMk cId="1094870920" sldId="1735"/>
            <ac:spMk id="41" creationId="{177907F9-2172-46A3-AEA0-8DD4122F217B}"/>
          </ac:spMkLst>
        </pc:spChg>
      </pc:sldChg>
      <pc:sldChg chg="modSp mod addCm delCm">
        <pc:chgData name="Reed Wolfe" userId="d05f6079-100b-4fbc-abf2-3407048ef9c5" providerId="ADAL" clId="{D34C5CF5-3A29-4FCF-885C-A575D13843A8}" dt="2021-02-11T14:18:19.939" v="1322" actId="404"/>
        <pc:sldMkLst>
          <pc:docMk/>
          <pc:sldMk cId="2345068032" sldId="1786"/>
        </pc:sldMkLst>
        <pc:spChg chg="mod">
          <ac:chgData name="Reed Wolfe" userId="d05f6079-100b-4fbc-abf2-3407048ef9c5" providerId="ADAL" clId="{D34C5CF5-3A29-4FCF-885C-A575D13843A8}" dt="2021-01-29T21:20:05.529" v="542" actId="207"/>
          <ac:spMkLst>
            <pc:docMk/>
            <pc:sldMk cId="2345068032" sldId="1786"/>
            <ac:spMk id="2" creationId="{45010FE8-BF09-4146-B084-66CB05B66FD9}"/>
          </ac:spMkLst>
        </pc:spChg>
        <pc:spChg chg="mod">
          <ac:chgData name="Reed Wolfe" userId="d05f6079-100b-4fbc-abf2-3407048ef9c5" providerId="ADAL" clId="{D34C5CF5-3A29-4FCF-885C-A575D13843A8}" dt="2021-01-29T21:19:53.831" v="541" actId="207"/>
          <ac:spMkLst>
            <pc:docMk/>
            <pc:sldMk cId="2345068032" sldId="1786"/>
            <ac:spMk id="11" creationId="{76583F2C-13BC-4FA8-A9DE-F1F764C38F10}"/>
          </ac:spMkLst>
        </pc:spChg>
        <pc:graphicFrameChg chg="mod modGraphic">
          <ac:chgData name="Reed Wolfe" userId="d05f6079-100b-4fbc-abf2-3407048ef9c5" providerId="ADAL" clId="{D34C5CF5-3A29-4FCF-885C-A575D13843A8}" dt="2021-02-11T14:18:19.939" v="1322" actId="404"/>
          <ac:graphicFrameMkLst>
            <pc:docMk/>
            <pc:sldMk cId="2345068032" sldId="1786"/>
            <ac:graphicFrameMk id="4" creationId="{9E04F86D-C834-4ACE-86A6-012EE8D90DEB}"/>
          </ac:graphicFrameMkLst>
        </pc:graphicFrameChg>
      </pc:sldChg>
      <pc:sldChg chg="modCm">
        <pc:chgData name="Reed Wolfe" userId="d05f6079-100b-4fbc-abf2-3407048ef9c5" providerId="ADAL" clId="{D34C5CF5-3A29-4FCF-885C-A575D13843A8}" dt="2021-01-29T17:18:54.200" v="240"/>
        <pc:sldMkLst>
          <pc:docMk/>
          <pc:sldMk cId="3071064459" sldId="1795"/>
        </pc:sldMkLst>
      </pc:sldChg>
      <pc:sldChg chg="modSp add mod">
        <pc:chgData name="Reed Wolfe" userId="d05f6079-100b-4fbc-abf2-3407048ef9c5" providerId="ADAL" clId="{D34C5CF5-3A29-4FCF-885C-A575D13843A8}" dt="2021-02-25T14:22:59.418" v="1379" actId="20577"/>
        <pc:sldMkLst>
          <pc:docMk/>
          <pc:sldMk cId="1304563117" sldId="3093"/>
        </pc:sldMkLst>
        <pc:spChg chg="mod">
          <ac:chgData name="Reed Wolfe" userId="d05f6079-100b-4fbc-abf2-3407048ef9c5" providerId="ADAL" clId="{D34C5CF5-3A29-4FCF-885C-A575D13843A8}" dt="2021-02-25T14:22:59.418" v="1379" actId="20577"/>
          <ac:spMkLst>
            <pc:docMk/>
            <pc:sldMk cId="1304563117" sldId="3093"/>
            <ac:spMk id="4" creationId="{7CE4786D-C856-4ED1-AD42-4D6D5704E74E}"/>
          </ac:spMkLst>
        </pc:spChg>
      </pc:sldChg>
      <pc:sldChg chg="addSp delSp modSp add mod addCm delCm modCm">
        <pc:chgData name="Reed Wolfe" userId="d05f6079-100b-4fbc-abf2-3407048ef9c5" providerId="ADAL" clId="{D34C5CF5-3A29-4FCF-885C-A575D13843A8}" dt="2021-02-11T14:09:20.669" v="1240"/>
        <pc:sldMkLst>
          <pc:docMk/>
          <pc:sldMk cId="856216650" sldId="10223"/>
        </pc:sldMkLst>
        <pc:spChg chg="mod">
          <ac:chgData name="Reed Wolfe" userId="d05f6079-100b-4fbc-abf2-3407048ef9c5" providerId="ADAL" clId="{D34C5CF5-3A29-4FCF-885C-A575D13843A8}" dt="2021-01-29T17:10:28.803" v="103" actId="14100"/>
          <ac:spMkLst>
            <pc:docMk/>
            <pc:sldMk cId="856216650" sldId="10223"/>
            <ac:spMk id="3" creationId="{4227308A-4FE9-4C05-BB5D-16C9B8CF8C09}"/>
          </ac:spMkLst>
        </pc:spChg>
        <pc:spChg chg="mod">
          <ac:chgData name="Reed Wolfe" userId="d05f6079-100b-4fbc-abf2-3407048ef9c5" providerId="ADAL" clId="{D34C5CF5-3A29-4FCF-885C-A575D13843A8}" dt="2021-01-29T17:35:17.676" v="414" actId="20577"/>
          <ac:spMkLst>
            <pc:docMk/>
            <pc:sldMk cId="856216650" sldId="10223"/>
            <ac:spMk id="4" creationId="{AD877597-C58A-4F11-971F-738C8C342DDF}"/>
          </ac:spMkLst>
        </pc:spChg>
        <pc:spChg chg="mod">
          <ac:chgData name="Reed Wolfe" userId="d05f6079-100b-4fbc-abf2-3407048ef9c5" providerId="ADAL" clId="{D34C5CF5-3A29-4FCF-885C-A575D13843A8}" dt="2021-01-29T17:10:19.693" v="101" actId="6549"/>
          <ac:spMkLst>
            <pc:docMk/>
            <pc:sldMk cId="856216650" sldId="10223"/>
            <ac:spMk id="5" creationId="{E5DC63EE-DBB0-49B8-A6C8-6875675C302B}"/>
          </ac:spMkLst>
        </pc:spChg>
        <pc:spChg chg="add mod">
          <ac:chgData name="Reed Wolfe" userId="d05f6079-100b-4fbc-abf2-3407048ef9c5" providerId="ADAL" clId="{D34C5CF5-3A29-4FCF-885C-A575D13843A8}" dt="2021-01-29T17:15:39.795" v="238" actId="1036"/>
          <ac:spMkLst>
            <pc:docMk/>
            <pc:sldMk cId="856216650" sldId="10223"/>
            <ac:spMk id="6" creationId="{B42DDD8B-A225-4AEC-B7E5-73014FBF653C}"/>
          </ac:spMkLst>
        </pc:spChg>
        <pc:spChg chg="mod topLvl">
          <ac:chgData name="Reed Wolfe" userId="d05f6079-100b-4fbc-abf2-3407048ef9c5" providerId="ADAL" clId="{D34C5CF5-3A29-4FCF-885C-A575D13843A8}" dt="2021-01-29T17:25:20.824" v="306" actId="20577"/>
          <ac:spMkLst>
            <pc:docMk/>
            <pc:sldMk cId="856216650" sldId="10223"/>
            <ac:spMk id="15" creationId="{4D635081-5C14-4453-98A4-27FF3E58A236}"/>
          </ac:spMkLst>
        </pc:spChg>
        <pc:spChg chg="del mod topLvl">
          <ac:chgData name="Reed Wolfe" userId="d05f6079-100b-4fbc-abf2-3407048ef9c5" providerId="ADAL" clId="{D34C5CF5-3A29-4FCF-885C-A575D13843A8}" dt="2021-01-29T17:13:47.645" v="158" actId="478"/>
          <ac:spMkLst>
            <pc:docMk/>
            <pc:sldMk cId="856216650" sldId="10223"/>
            <ac:spMk id="17" creationId="{B2C3C4D6-0283-4AF1-AD02-40BCAA01A15E}"/>
          </ac:spMkLst>
        </pc:spChg>
        <pc:spChg chg="mod">
          <ac:chgData name="Reed Wolfe" userId="d05f6079-100b-4fbc-abf2-3407048ef9c5" providerId="ADAL" clId="{D34C5CF5-3A29-4FCF-885C-A575D13843A8}" dt="2021-01-29T17:10:39.965" v="108" actId="6549"/>
          <ac:spMkLst>
            <pc:docMk/>
            <pc:sldMk cId="856216650" sldId="10223"/>
            <ac:spMk id="31" creationId="{A09AA2CA-4C58-4921-95C0-FB68D16FB9B7}"/>
          </ac:spMkLst>
        </pc:spChg>
        <pc:spChg chg="mod">
          <ac:chgData name="Reed Wolfe" userId="d05f6079-100b-4fbc-abf2-3407048ef9c5" providerId="ADAL" clId="{D34C5CF5-3A29-4FCF-885C-A575D13843A8}" dt="2021-01-29T17:11:41.699" v="145" actId="6549"/>
          <ac:spMkLst>
            <pc:docMk/>
            <pc:sldMk cId="856216650" sldId="10223"/>
            <ac:spMk id="33" creationId="{F0C1CE1F-5742-4079-A4DA-DA19F30BA6F7}"/>
          </ac:spMkLst>
        </pc:spChg>
        <pc:spChg chg="mod">
          <ac:chgData name="Reed Wolfe" userId="d05f6079-100b-4fbc-abf2-3407048ef9c5" providerId="ADAL" clId="{D34C5CF5-3A29-4FCF-885C-A575D13843A8}" dt="2021-01-29T17:26:16.163" v="385" actId="20577"/>
          <ac:spMkLst>
            <pc:docMk/>
            <pc:sldMk cId="856216650" sldId="10223"/>
            <ac:spMk id="46" creationId="{423E3344-0D3E-40C6-A30D-D9146C16FFD2}"/>
          </ac:spMkLst>
        </pc:spChg>
        <pc:grpChg chg="mod">
          <ac:chgData name="Reed Wolfe" userId="d05f6079-100b-4fbc-abf2-3407048ef9c5" providerId="ADAL" clId="{D34C5CF5-3A29-4FCF-885C-A575D13843A8}" dt="2021-01-29T17:15:08.123" v="223" actId="14100"/>
          <ac:grpSpMkLst>
            <pc:docMk/>
            <pc:sldMk cId="856216650" sldId="10223"/>
            <ac:grpSpMk id="11" creationId="{6504A98E-E14A-459E-A6D7-D40EC085CB99}"/>
          </ac:grpSpMkLst>
        </pc:grpChg>
        <pc:grpChg chg="mod">
          <ac:chgData name="Reed Wolfe" userId="d05f6079-100b-4fbc-abf2-3407048ef9c5" providerId="ADAL" clId="{D34C5CF5-3A29-4FCF-885C-A575D13843A8}" dt="2021-01-29T17:15:22.988" v="224" actId="14100"/>
          <ac:grpSpMkLst>
            <pc:docMk/>
            <pc:sldMk cId="856216650" sldId="10223"/>
            <ac:grpSpMk id="12" creationId="{9DF4793B-AFEC-46EE-9F44-A21420608D69}"/>
          </ac:grpSpMkLst>
        </pc:grpChg>
        <pc:grpChg chg="add del mod">
          <ac:chgData name="Reed Wolfe" userId="d05f6079-100b-4fbc-abf2-3407048ef9c5" providerId="ADAL" clId="{D34C5CF5-3A29-4FCF-885C-A575D13843A8}" dt="2021-01-29T17:13:47.645" v="158" actId="478"/>
          <ac:grpSpMkLst>
            <pc:docMk/>
            <pc:sldMk cId="856216650" sldId="10223"/>
            <ac:grpSpMk id="14" creationId="{59D56263-1F39-4B15-AFA7-C040F34484F1}"/>
          </ac:grpSpMkLst>
        </pc:grpChg>
      </pc:sldChg>
      <pc:sldChg chg="modSp mod modNotesTx">
        <pc:chgData name="Reed Wolfe" userId="d05f6079-100b-4fbc-abf2-3407048ef9c5" providerId="ADAL" clId="{D34C5CF5-3A29-4FCF-885C-A575D13843A8}" dt="2021-02-11T14:20:17.294" v="1328" actId="1038"/>
        <pc:sldMkLst>
          <pc:docMk/>
          <pc:sldMk cId="2744971081" sldId="10226"/>
        </pc:sldMkLst>
        <pc:grpChg chg="mod">
          <ac:chgData name="Reed Wolfe" userId="d05f6079-100b-4fbc-abf2-3407048ef9c5" providerId="ADAL" clId="{D34C5CF5-3A29-4FCF-885C-A575D13843A8}" dt="2021-02-11T14:20:17.294" v="1328" actId="1038"/>
          <ac:grpSpMkLst>
            <pc:docMk/>
            <pc:sldMk cId="2744971081" sldId="10226"/>
            <ac:grpSpMk id="19" creationId="{72EB8C5C-B697-4A72-B004-8BB13B09543F}"/>
          </ac:grpSpMkLst>
        </pc:grpChg>
      </pc:sldChg>
      <pc:sldChg chg="modSp mod">
        <pc:chgData name="Reed Wolfe" userId="d05f6079-100b-4fbc-abf2-3407048ef9c5" providerId="ADAL" clId="{D34C5CF5-3A29-4FCF-885C-A575D13843A8}" dt="2021-02-25T14:31:56.709" v="1386" actId="20577"/>
        <pc:sldMkLst>
          <pc:docMk/>
          <pc:sldMk cId="3311876511" sldId="10229"/>
        </pc:sldMkLst>
        <pc:spChg chg="mod">
          <ac:chgData name="Reed Wolfe" userId="d05f6079-100b-4fbc-abf2-3407048ef9c5" providerId="ADAL" clId="{D34C5CF5-3A29-4FCF-885C-A575D13843A8}" dt="2021-02-25T14:29:08.534" v="1380" actId="20577"/>
          <ac:spMkLst>
            <pc:docMk/>
            <pc:sldMk cId="3311876511" sldId="10229"/>
            <ac:spMk id="15" creationId="{CBDE199F-738C-48F9-B2A1-07D56F822D7E}"/>
          </ac:spMkLst>
        </pc:spChg>
        <pc:spChg chg="mod">
          <ac:chgData name="Reed Wolfe" userId="d05f6079-100b-4fbc-abf2-3407048ef9c5" providerId="ADAL" clId="{D34C5CF5-3A29-4FCF-885C-A575D13843A8}" dt="2021-02-25T14:29:13.061" v="1381" actId="20577"/>
          <ac:spMkLst>
            <pc:docMk/>
            <pc:sldMk cId="3311876511" sldId="10229"/>
            <ac:spMk id="20" creationId="{A76BCD27-A91E-41A2-9AE0-9E606EDC08EC}"/>
          </ac:spMkLst>
        </pc:spChg>
        <pc:spChg chg="mod">
          <ac:chgData name="Reed Wolfe" userId="d05f6079-100b-4fbc-abf2-3407048ef9c5" providerId="ADAL" clId="{D34C5CF5-3A29-4FCF-885C-A575D13843A8}" dt="2021-02-25T14:31:56.709" v="1386" actId="20577"/>
          <ac:spMkLst>
            <pc:docMk/>
            <pc:sldMk cId="3311876511" sldId="10229"/>
            <ac:spMk id="26" creationId="{663C5757-1699-4EEC-B106-3EDCEBC77B60}"/>
          </ac:spMkLst>
        </pc:spChg>
      </pc:sldChg>
      <pc:sldMasterChg chg="addSldLayout modSldLayout">
        <pc:chgData name="Reed Wolfe" userId="d05f6079-100b-4fbc-abf2-3407048ef9c5" providerId="ADAL" clId="{D34C5CF5-3A29-4FCF-885C-A575D13843A8}" dt="2021-02-25T14:18:35.837" v="1329" actId="22"/>
        <pc:sldMasterMkLst>
          <pc:docMk/>
          <pc:sldMasterMk cId="993860654" sldId="2147483660"/>
        </pc:sldMasterMkLst>
        <pc:sldLayoutChg chg="add mod">
          <pc:chgData name="Reed Wolfe" userId="d05f6079-100b-4fbc-abf2-3407048ef9c5" providerId="ADAL" clId="{D34C5CF5-3A29-4FCF-885C-A575D13843A8}" dt="2021-02-25T14:18:35.837" v="1329" actId="22"/>
          <pc:sldLayoutMkLst>
            <pc:docMk/>
            <pc:sldMasterMk cId="993860654" sldId="2147483660"/>
            <pc:sldLayoutMk cId="335699688" sldId="2147483704"/>
          </pc:sldLayoutMkLst>
        </pc:sldLayoutChg>
      </pc:sldMasterChg>
    </pc:docChg>
  </pc:docChgLst>
  <pc:docChgLst>
    <pc:chgData name="Roman Abylkhatov" userId="2e959579-b379-4599-8299-cd2bab77a390" providerId="ADAL" clId="{3598FBA1-59ED-4C59-A5B4-1D6E8AA8E020}"/>
    <pc:docChg chg="undo custSel addSld delSld modSld sldOrd modSection">
      <pc:chgData name="Roman Abylkhatov" userId="2e959579-b379-4599-8299-cd2bab77a390" providerId="ADAL" clId="{3598FBA1-59ED-4C59-A5B4-1D6E8AA8E020}" dt="2021-03-23T14:27:01.557" v="3096" actId="313"/>
      <pc:docMkLst>
        <pc:docMk/>
      </pc:docMkLst>
      <pc:sldChg chg="delSp modSp mod">
        <pc:chgData name="Roman Abylkhatov" userId="2e959579-b379-4599-8299-cd2bab77a390" providerId="ADAL" clId="{3598FBA1-59ED-4C59-A5B4-1D6E8AA8E020}" dt="2021-02-11T14:07:23.640" v="2065" actId="20577"/>
        <pc:sldMkLst>
          <pc:docMk/>
          <pc:sldMk cId="1094870920" sldId="1735"/>
        </pc:sldMkLst>
        <pc:spChg chg="mod">
          <ac:chgData name="Roman Abylkhatov" userId="2e959579-b379-4599-8299-cd2bab77a390" providerId="ADAL" clId="{3598FBA1-59ED-4C59-A5B4-1D6E8AA8E020}" dt="2021-02-11T14:06:23.486" v="2040" actId="6549"/>
          <ac:spMkLst>
            <pc:docMk/>
            <pc:sldMk cId="1094870920" sldId="1735"/>
            <ac:spMk id="65" creationId="{54341627-CD8C-4D9B-8381-28743BCFFBF1}"/>
          </ac:spMkLst>
        </pc:spChg>
        <pc:spChg chg="mod">
          <ac:chgData name="Roman Abylkhatov" userId="2e959579-b379-4599-8299-cd2bab77a390" providerId="ADAL" clId="{3598FBA1-59ED-4C59-A5B4-1D6E8AA8E020}" dt="2021-02-11T14:07:23.640" v="2065" actId="20577"/>
          <ac:spMkLst>
            <pc:docMk/>
            <pc:sldMk cId="1094870920" sldId="1735"/>
            <ac:spMk id="99" creationId="{FC4B0DC5-704F-4EF8-8C8D-57B005D97A11}"/>
          </ac:spMkLst>
        </pc:spChg>
        <pc:grpChg chg="del">
          <ac:chgData name="Roman Abylkhatov" userId="2e959579-b379-4599-8299-cd2bab77a390" providerId="ADAL" clId="{3598FBA1-59ED-4C59-A5B4-1D6E8AA8E020}" dt="2021-02-11T14:06:25.668" v="2041" actId="478"/>
          <ac:grpSpMkLst>
            <pc:docMk/>
            <pc:sldMk cId="1094870920" sldId="1735"/>
            <ac:grpSpMk id="64" creationId="{C25BF092-9D17-40D4-AEA1-85E84CD38EE6}"/>
          </ac:grpSpMkLst>
        </pc:grpChg>
        <pc:grpChg chg="mod">
          <ac:chgData name="Roman Abylkhatov" userId="2e959579-b379-4599-8299-cd2bab77a390" providerId="ADAL" clId="{3598FBA1-59ED-4C59-A5B4-1D6E8AA8E020}" dt="2021-02-11T14:06:58.779" v="2058" actId="1036"/>
          <ac:grpSpMkLst>
            <pc:docMk/>
            <pc:sldMk cId="1094870920" sldId="1735"/>
            <ac:grpSpMk id="69" creationId="{199D9518-4245-48DA-AFDC-44848BB4C33A}"/>
          </ac:grpSpMkLst>
        </pc:grpChg>
        <pc:grpChg chg="mod">
          <ac:chgData name="Roman Abylkhatov" userId="2e959579-b379-4599-8299-cd2bab77a390" providerId="ADAL" clId="{3598FBA1-59ED-4C59-A5B4-1D6E8AA8E020}" dt="2021-02-11T14:06:58.779" v="2058" actId="1036"/>
          <ac:grpSpMkLst>
            <pc:docMk/>
            <pc:sldMk cId="1094870920" sldId="1735"/>
            <ac:grpSpMk id="84" creationId="{95831B84-1C17-4A14-9584-93D7C92B4AC9}"/>
          </ac:grpSpMkLst>
        </pc:grpChg>
        <pc:grpChg chg="mod">
          <ac:chgData name="Roman Abylkhatov" userId="2e959579-b379-4599-8299-cd2bab77a390" providerId="ADAL" clId="{3598FBA1-59ED-4C59-A5B4-1D6E8AA8E020}" dt="2021-02-11T14:06:58.779" v="2058" actId="1036"/>
          <ac:grpSpMkLst>
            <pc:docMk/>
            <pc:sldMk cId="1094870920" sldId="1735"/>
            <ac:grpSpMk id="98" creationId="{AED3DC3C-2C35-484A-A44A-882CFB672503}"/>
          </ac:grpSpMkLst>
        </pc:grpChg>
        <pc:grpChg chg="mod">
          <ac:chgData name="Roman Abylkhatov" userId="2e959579-b379-4599-8299-cd2bab77a390" providerId="ADAL" clId="{3598FBA1-59ED-4C59-A5B4-1D6E8AA8E020}" dt="2021-02-11T14:06:58.779" v="2058" actId="1036"/>
          <ac:grpSpMkLst>
            <pc:docMk/>
            <pc:sldMk cId="1094870920" sldId="1735"/>
            <ac:grpSpMk id="108" creationId="{1968FCB1-4939-4B68-8DC9-516AB0B3F2DD}"/>
          </ac:grpSpMkLst>
        </pc:grpChg>
        <pc:grpChg chg="mod">
          <ac:chgData name="Roman Abylkhatov" userId="2e959579-b379-4599-8299-cd2bab77a390" providerId="ADAL" clId="{3598FBA1-59ED-4C59-A5B4-1D6E8AA8E020}" dt="2021-02-11T14:06:58.779" v="2058" actId="1036"/>
          <ac:grpSpMkLst>
            <pc:docMk/>
            <pc:sldMk cId="1094870920" sldId="1735"/>
            <ac:grpSpMk id="114" creationId="{38E6168B-17A2-40FF-90C7-264C19822952}"/>
          </ac:grpSpMkLst>
        </pc:grpChg>
        <pc:cxnChg chg="del">
          <ac:chgData name="Roman Abylkhatov" userId="2e959579-b379-4599-8299-cd2bab77a390" providerId="ADAL" clId="{3598FBA1-59ED-4C59-A5B4-1D6E8AA8E020}" dt="2021-02-11T14:06:30.715" v="2042" actId="478"/>
          <ac:cxnSpMkLst>
            <pc:docMk/>
            <pc:sldMk cId="1094870920" sldId="1735"/>
            <ac:cxnSpMk id="48" creationId="{7354E8F2-26A2-4CCA-89B8-65B9B53DA07B}"/>
          </ac:cxnSpMkLst>
        </pc:cxnChg>
        <pc:cxnChg chg="mod">
          <ac:chgData name="Roman Abylkhatov" userId="2e959579-b379-4599-8299-cd2bab77a390" providerId="ADAL" clId="{3598FBA1-59ED-4C59-A5B4-1D6E8AA8E020}" dt="2021-02-11T14:06:58.779" v="2058" actId="1036"/>
          <ac:cxnSpMkLst>
            <pc:docMk/>
            <pc:sldMk cId="1094870920" sldId="1735"/>
            <ac:cxnSpMk id="49" creationId="{F03F52E1-9D12-4CD8-9AFB-DF3694F8E8DF}"/>
          </ac:cxnSpMkLst>
        </pc:cxnChg>
        <pc:cxnChg chg="mod">
          <ac:chgData name="Roman Abylkhatov" userId="2e959579-b379-4599-8299-cd2bab77a390" providerId="ADAL" clId="{3598FBA1-59ED-4C59-A5B4-1D6E8AA8E020}" dt="2021-02-11T14:06:58.779" v="2058" actId="1036"/>
          <ac:cxnSpMkLst>
            <pc:docMk/>
            <pc:sldMk cId="1094870920" sldId="1735"/>
            <ac:cxnSpMk id="52" creationId="{721FE680-81D2-484D-B86E-D8BCF74079FD}"/>
          </ac:cxnSpMkLst>
        </pc:cxnChg>
        <pc:cxnChg chg="mod">
          <ac:chgData name="Roman Abylkhatov" userId="2e959579-b379-4599-8299-cd2bab77a390" providerId="ADAL" clId="{3598FBA1-59ED-4C59-A5B4-1D6E8AA8E020}" dt="2021-02-11T14:06:58.779" v="2058" actId="1036"/>
          <ac:cxnSpMkLst>
            <pc:docMk/>
            <pc:sldMk cId="1094870920" sldId="1735"/>
            <ac:cxnSpMk id="53" creationId="{76FF7EC1-B2EB-4DC5-B055-C580BB6B5166}"/>
          </ac:cxnSpMkLst>
        </pc:cxnChg>
        <pc:cxnChg chg="mod">
          <ac:chgData name="Roman Abylkhatov" userId="2e959579-b379-4599-8299-cd2bab77a390" providerId="ADAL" clId="{3598FBA1-59ED-4C59-A5B4-1D6E8AA8E020}" dt="2021-02-11T14:06:58.779" v="2058" actId="1036"/>
          <ac:cxnSpMkLst>
            <pc:docMk/>
            <pc:sldMk cId="1094870920" sldId="1735"/>
            <ac:cxnSpMk id="105" creationId="{659FEA74-C3DC-4508-BE4F-3AF4CD4B39B4}"/>
          </ac:cxnSpMkLst>
        </pc:cxnChg>
      </pc:sldChg>
      <pc:sldChg chg="modSp mod">
        <pc:chgData name="Roman Abylkhatov" userId="2e959579-b379-4599-8299-cd2bab77a390" providerId="ADAL" clId="{3598FBA1-59ED-4C59-A5B4-1D6E8AA8E020}" dt="2021-02-22T15:14:21.755" v="2390" actId="20577"/>
        <pc:sldMkLst>
          <pc:docMk/>
          <pc:sldMk cId="2345068032" sldId="1786"/>
        </pc:sldMkLst>
        <pc:spChg chg="mod">
          <ac:chgData name="Roman Abylkhatov" userId="2e959579-b379-4599-8299-cd2bab77a390" providerId="ADAL" clId="{3598FBA1-59ED-4C59-A5B4-1D6E8AA8E020}" dt="2021-02-04T14:05:08.275" v="667" actId="6549"/>
          <ac:spMkLst>
            <pc:docMk/>
            <pc:sldMk cId="2345068032" sldId="1786"/>
            <ac:spMk id="2" creationId="{45010FE8-BF09-4146-B084-66CB05B66FD9}"/>
          </ac:spMkLst>
        </pc:spChg>
        <pc:spChg chg="mod">
          <ac:chgData name="Roman Abylkhatov" userId="2e959579-b379-4599-8299-cd2bab77a390" providerId="ADAL" clId="{3598FBA1-59ED-4C59-A5B4-1D6E8AA8E020}" dt="2021-02-04T14:05:55.257" v="691" actId="20577"/>
          <ac:spMkLst>
            <pc:docMk/>
            <pc:sldMk cId="2345068032" sldId="1786"/>
            <ac:spMk id="11" creationId="{76583F2C-13BC-4FA8-A9DE-F1F764C38F10}"/>
          </ac:spMkLst>
        </pc:spChg>
        <pc:graphicFrameChg chg="mod modGraphic">
          <ac:chgData name="Roman Abylkhatov" userId="2e959579-b379-4599-8299-cd2bab77a390" providerId="ADAL" clId="{3598FBA1-59ED-4C59-A5B4-1D6E8AA8E020}" dt="2021-02-22T15:14:21.755" v="2390" actId="20577"/>
          <ac:graphicFrameMkLst>
            <pc:docMk/>
            <pc:sldMk cId="2345068032" sldId="1786"/>
            <ac:graphicFrameMk id="4" creationId="{9E04F86D-C834-4ACE-86A6-012EE8D90DEB}"/>
          </ac:graphicFrameMkLst>
        </pc:graphicFrameChg>
      </pc:sldChg>
      <pc:sldChg chg="del addCm">
        <pc:chgData name="Roman Abylkhatov" userId="2e959579-b379-4599-8299-cd2bab77a390" providerId="ADAL" clId="{3598FBA1-59ED-4C59-A5B4-1D6E8AA8E020}" dt="2021-02-04T14:13:14.561" v="837" actId="2696"/>
        <pc:sldMkLst>
          <pc:docMk/>
          <pc:sldMk cId="3071064459" sldId="1795"/>
        </pc:sldMkLst>
      </pc:sldChg>
      <pc:sldChg chg="del">
        <pc:chgData name="Roman Abylkhatov" userId="2e959579-b379-4599-8299-cd2bab77a390" providerId="ADAL" clId="{3598FBA1-59ED-4C59-A5B4-1D6E8AA8E020}" dt="2021-02-25T14:31:30.513" v="3078" actId="2696"/>
        <pc:sldMkLst>
          <pc:docMk/>
          <pc:sldMk cId="1304563117" sldId="3093"/>
        </pc:sldMkLst>
      </pc:sldChg>
      <pc:sldChg chg="addSp delSp modSp del mod">
        <pc:chgData name="Roman Abylkhatov" userId="2e959579-b379-4599-8299-cd2bab77a390" providerId="ADAL" clId="{3598FBA1-59ED-4C59-A5B4-1D6E8AA8E020}" dt="2021-02-04T14:10:20.159" v="760" actId="2696"/>
        <pc:sldMkLst>
          <pc:docMk/>
          <pc:sldMk cId="2356428871" sldId="3131"/>
        </pc:sldMkLst>
        <pc:spChg chg="mod">
          <ac:chgData name="Roman Abylkhatov" userId="2e959579-b379-4599-8299-cd2bab77a390" providerId="ADAL" clId="{3598FBA1-59ED-4C59-A5B4-1D6E8AA8E020}" dt="2021-02-01T09:04:14.740" v="663" actId="13926"/>
          <ac:spMkLst>
            <pc:docMk/>
            <pc:sldMk cId="2356428871" sldId="3131"/>
            <ac:spMk id="2" creationId="{45010FE8-BF09-4146-B084-66CB05B66FD9}"/>
          </ac:spMkLst>
        </pc:spChg>
        <pc:spChg chg="add mod">
          <ac:chgData name="Roman Abylkhatov" userId="2e959579-b379-4599-8299-cd2bab77a390" providerId="ADAL" clId="{3598FBA1-59ED-4C59-A5B4-1D6E8AA8E020}" dt="2021-01-28T14:45:55.821" v="572" actId="571"/>
          <ac:spMkLst>
            <pc:docMk/>
            <pc:sldMk cId="2356428871" sldId="3131"/>
            <ac:spMk id="3" creationId="{4227308A-4FE9-4C05-BB5D-16C9B8CF8C09}"/>
          </ac:spMkLst>
        </pc:spChg>
        <pc:spChg chg="add mod topLvl">
          <ac:chgData name="Roman Abylkhatov" userId="2e959579-b379-4599-8299-cd2bab77a390" providerId="ADAL" clId="{3598FBA1-59ED-4C59-A5B4-1D6E8AA8E020}" dt="2021-01-28T14:46:19.910" v="578" actId="165"/>
          <ac:spMkLst>
            <pc:docMk/>
            <pc:sldMk cId="2356428871" sldId="3131"/>
            <ac:spMk id="4" creationId="{AD877597-C58A-4F11-971F-738C8C342DDF}"/>
          </ac:spMkLst>
        </pc:spChg>
        <pc:spChg chg="add mod">
          <ac:chgData name="Roman Abylkhatov" userId="2e959579-b379-4599-8299-cd2bab77a390" providerId="ADAL" clId="{3598FBA1-59ED-4C59-A5B4-1D6E8AA8E020}" dt="2021-01-28T14:51:22.815" v="628" actId="20577"/>
          <ac:spMkLst>
            <pc:docMk/>
            <pc:sldMk cId="2356428871" sldId="3131"/>
            <ac:spMk id="5" creationId="{E5DC63EE-DBB0-49B8-A6C8-6875675C302B}"/>
          </ac:spMkLst>
        </pc:spChg>
        <pc:spChg chg="add del mod topLvl">
          <ac:chgData name="Roman Abylkhatov" userId="2e959579-b379-4599-8299-cd2bab77a390" providerId="ADAL" clId="{3598FBA1-59ED-4C59-A5B4-1D6E8AA8E020}" dt="2021-01-28T14:45:41.237" v="570" actId="478"/>
          <ac:spMkLst>
            <pc:docMk/>
            <pc:sldMk cId="2356428871" sldId="3131"/>
            <ac:spMk id="6" creationId="{0C400C65-E4D0-41D9-93F7-AC932CB1C30A}"/>
          </ac:spMkLst>
        </pc:spChg>
        <pc:spChg chg="del mod">
          <ac:chgData name="Roman Abylkhatov" userId="2e959579-b379-4599-8299-cd2bab77a390" providerId="ADAL" clId="{3598FBA1-59ED-4C59-A5B4-1D6E8AA8E020}" dt="2021-01-28T14:19:52.559" v="44" actId="478"/>
          <ac:spMkLst>
            <pc:docMk/>
            <pc:sldMk cId="2356428871" sldId="3131"/>
            <ac:spMk id="20" creationId="{9C4A0BF9-E23F-4CFA-BFB9-1923DF03340F}"/>
          </ac:spMkLst>
        </pc:spChg>
        <pc:spChg chg="add del mod topLvl">
          <ac:chgData name="Roman Abylkhatov" userId="2e959579-b379-4599-8299-cd2bab77a390" providerId="ADAL" clId="{3598FBA1-59ED-4C59-A5B4-1D6E8AA8E020}" dt="2021-01-28T14:44:14.233" v="561" actId="478"/>
          <ac:spMkLst>
            <pc:docMk/>
            <pc:sldMk cId="2356428871" sldId="3131"/>
            <ac:spMk id="30" creationId="{5A74064D-DD39-48F6-894C-9D44E1757055}"/>
          </ac:spMkLst>
        </pc:spChg>
        <pc:spChg chg="add mod topLvl">
          <ac:chgData name="Roman Abylkhatov" userId="2e959579-b379-4599-8299-cd2bab77a390" providerId="ADAL" clId="{3598FBA1-59ED-4C59-A5B4-1D6E8AA8E020}" dt="2021-01-28T14:51:29.977" v="630" actId="20577"/>
          <ac:spMkLst>
            <pc:docMk/>
            <pc:sldMk cId="2356428871" sldId="3131"/>
            <ac:spMk id="31" creationId="{A09AA2CA-4C58-4921-95C0-FB68D16FB9B7}"/>
          </ac:spMkLst>
        </pc:spChg>
        <pc:spChg chg="add mod">
          <ac:chgData name="Roman Abylkhatov" userId="2e959579-b379-4599-8299-cd2bab77a390" providerId="ADAL" clId="{3598FBA1-59ED-4C59-A5B4-1D6E8AA8E020}" dt="2021-01-28T14:45:55.821" v="572" actId="571"/>
          <ac:spMkLst>
            <pc:docMk/>
            <pc:sldMk cId="2356428871" sldId="3131"/>
            <ac:spMk id="32" creationId="{FB422637-BF0B-4F1A-A005-C1B3E5AC5DCF}"/>
          </ac:spMkLst>
        </pc:spChg>
        <pc:spChg chg="add mod topLvl">
          <ac:chgData name="Roman Abylkhatov" userId="2e959579-b379-4599-8299-cd2bab77a390" providerId="ADAL" clId="{3598FBA1-59ED-4C59-A5B4-1D6E8AA8E020}" dt="2021-01-28T14:51:34.421" v="633" actId="20577"/>
          <ac:spMkLst>
            <pc:docMk/>
            <pc:sldMk cId="2356428871" sldId="3131"/>
            <ac:spMk id="33" creationId="{F0C1CE1F-5742-4079-A4DA-DA19F30BA6F7}"/>
          </ac:spMkLst>
        </pc:spChg>
        <pc:spChg chg="mod topLvl">
          <ac:chgData name="Roman Abylkhatov" userId="2e959579-b379-4599-8299-cd2bab77a390" providerId="ADAL" clId="{3598FBA1-59ED-4C59-A5B4-1D6E8AA8E020}" dt="2021-01-28T14:49:40.615" v="595" actId="14100"/>
          <ac:spMkLst>
            <pc:docMk/>
            <pc:sldMk cId="2356428871" sldId="3131"/>
            <ac:spMk id="46" creationId="{423E3344-0D3E-40C6-A30D-D9146C16FFD2}"/>
          </ac:spMkLst>
        </pc:spChg>
        <pc:spChg chg="del mod topLvl">
          <ac:chgData name="Roman Abylkhatov" userId="2e959579-b379-4599-8299-cd2bab77a390" providerId="ADAL" clId="{3598FBA1-59ED-4C59-A5B4-1D6E8AA8E020}" dt="2021-01-28T14:44:12.667" v="560" actId="478"/>
          <ac:spMkLst>
            <pc:docMk/>
            <pc:sldMk cId="2356428871" sldId="3131"/>
            <ac:spMk id="47" creationId="{3153E1ED-F3FC-47BC-86FF-ABC256FF54B7}"/>
          </ac:spMkLst>
        </pc:spChg>
        <pc:grpChg chg="add del mod">
          <ac:chgData name="Roman Abylkhatov" userId="2e959579-b379-4599-8299-cd2bab77a390" providerId="ADAL" clId="{3598FBA1-59ED-4C59-A5B4-1D6E8AA8E020}" dt="2021-01-28T14:46:19.910" v="578" actId="165"/>
          <ac:grpSpMkLst>
            <pc:docMk/>
            <pc:sldMk cId="2356428871" sldId="3131"/>
            <ac:grpSpMk id="7" creationId="{4C904B1A-4607-431A-8CD3-A48C90561161}"/>
          </ac:grpSpMkLst>
        </pc:grpChg>
        <pc:grpChg chg="add del">
          <ac:chgData name="Roman Abylkhatov" userId="2e959579-b379-4599-8299-cd2bab77a390" providerId="ADAL" clId="{3598FBA1-59ED-4C59-A5B4-1D6E8AA8E020}" dt="2021-01-28T14:44:12.667" v="560" actId="478"/>
          <ac:grpSpMkLst>
            <pc:docMk/>
            <pc:sldMk cId="2356428871" sldId="3131"/>
            <ac:grpSpMk id="8" creationId="{FA0A9344-377C-4823-83EF-9D120CAE8A00}"/>
          </ac:grpSpMkLst>
        </pc:grpChg>
        <pc:grpChg chg="add mod">
          <ac:chgData name="Roman Abylkhatov" userId="2e959579-b379-4599-8299-cd2bab77a390" providerId="ADAL" clId="{3598FBA1-59ED-4C59-A5B4-1D6E8AA8E020}" dt="2021-01-28T14:49:57.043" v="597" actId="14100"/>
          <ac:grpSpMkLst>
            <pc:docMk/>
            <pc:sldMk cId="2356428871" sldId="3131"/>
            <ac:grpSpMk id="9" creationId="{F1AFCA7D-63E7-417D-998B-342F71F36AD8}"/>
          </ac:grpSpMkLst>
        </pc:grpChg>
        <pc:grpChg chg="add del mod">
          <ac:chgData name="Roman Abylkhatov" userId="2e959579-b379-4599-8299-cd2bab77a390" providerId="ADAL" clId="{3598FBA1-59ED-4C59-A5B4-1D6E8AA8E020}" dt="2021-01-28T14:44:47.264" v="564" actId="165"/>
          <ac:grpSpMkLst>
            <pc:docMk/>
            <pc:sldMk cId="2356428871" sldId="3131"/>
            <ac:grpSpMk id="10" creationId="{8DD89DFE-9C6D-4817-A36D-A8F171BC211F}"/>
          </ac:grpSpMkLst>
        </pc:grpChg>
        <pc:grpChg chg="add mod">
          <ac:chgData name="Roman Abylkhatov" userId="2e959579-b379-4599-8299-cd2bab77a390" providerId="ADAL" clId="{3598FBA1-59ED-4C59-A5B4-1D6E8AA8E020}" dt="2021-01-28T14:50:04.022" v="600" actId="1076"/>
          <ac:grpSpMkLst>
            <pc:docMk/>
            <pc:sldMk cId="2356428871" sldId="3131"/>
            <ac:grpSpMk id="11" creationId="{6504A98E-E14A-459E-A6D7-D40EC085CB99}"/>
          </ac:grpSpMkLst>
        </pc:grpChg>
        <pc:grpChg chg="add mod">
          <ac:chgData name="Roman Abylkhatov" userId="2e959579-b379-4599-8299-cd2bab77a390" providerId="ADAL" clId="{3598FBA1-59ED-4C59-A5B4-1D6E8AA8E020}" dt="2021-01-28T14:50:06.393" v="601" actId="1076"/>
          <ac:grpSpMkLst>
            <pc:docMk/>
            <pc:sldMk cId="2356428871" sldId="3131"/>
            <ac:grpSpMk id="12" creationId="{9DF4793B-AFEC-46EE-9F44-A21420608D69}"/>
          </ac:grpSpMkLst>
        </pc:grpChg>
        <pc:grpChg chg="del">
          <ac:chgData name="Roman Abylkhatov" userId="2e959579-b379-4599-8299-cd2bab77a390" providerId="ADAL" clId="{3598FBA1-59ED-4C59-A5B4-1D6E8AA8E020}" dt="2021-01-28T14:19:57.404" v="47" actId="478"/>
          <ac:grpSpMkLst>
            <pc:docMk/>
            <pc:sldMk cId="2356428871" sldId="3131"/>
            <ac:grpSpMk id="22" creationId="{B97C69AB-A6F8-4AC0-AE4C-B9139D91F759}"/>
          </ac:grpSpMkLst>
        </pc:grpChg>
        <pc:grpChg chg="del">
          <ac:chgData name="Roman Abylkhatov" userId="2e959579-b379-4599-8299-cd2bab77a390" providerId="ADAL" clId="{3598FBA1-59ED-4C59-A5B4-1D6E8AA8E020}" dt="2021-01-28T14:19:45.548" v="41" actId="478"/>
          <ac:grpSpMkLst>
            <pc:docMk/>
            <pc:sldMk cId="2356428871" sldId="3131"/>
            <ac:grpSpMk id="25" creationId="{68EA5DDC-E544-4F4D-AB26-DF041AFF16F8}"/>
          </ac:grpSpMkLst>
        </pc:grpChg>
        <pc:cxnChg chg="add del mod">
          <ac:chgData name="Roman Abylkhatov" userId="2e959579-b379-4599-8299-cd2bab77a390" providerId="ADAL" clId="{3598FBA1-59ED-4C59-A5B4-1D6E8AA8E020}" dt="2021-01-28T14:51:54.700" v="636" actId="1076"/>
          <ac:cxnSpMkLst>
            <pc:docMk/>
            <pc:sldMk cId="2356428871" sldId="3131"/>
            <ac:cxnSpMk id="16" creationId="{72837305-2ABA-4EB3-8826-E9F09C5A91A9}"/>
          </ac:cxnSpMkLst>
        </pc:cxnChg>
      </pc:sldChg>
      <pc:sldChg chg="modSp mod">
        <pc:chgData name="Roman Abylkhatov" userId="2e959579-b379-4599-8299-cd2bab77a390" providerId="ADAL" clId="{3598FBA1-59ED-4C59-A5B4-1D6E8AA8E020}" dt="2021-02-11T14:19:57.842" v="2324" actId="20577"/>
        <pc:sldMkLst>
          <pc:docMk/>
          <pc:sldMk cId="3300356148" sldId="10222"/>
        </pc:sldMkLst>
        <pc:spChg chg="mod">
          <ac:chgData name="Roman Abylkhatov" userId="2e959579-b379-4599-8299-cd2bab77a390" providerId="ADAL" clId="{3598FBA1-59ED-4C59-A5B4-1D6E8AA8E020}" dt="2021-01-28T15:00:46.820" v="658" actId="20577"/>
          <ac:spMkLst>
            <pc:docMk/>
            <pc:sldMk cId="3300356148" sldId="10222"/>
            <ac:spMk id="11" creationId="{E5BCFD79-ACCF-4415-ABDE-04E18E58FD42}"/>
          </ac:spMkLst>
        </pc:spChg>
        <pc:spChg chg="mod">
          <ac:chgData name="Roman Abylkhatov" userId="2e959579-b379-4599-8299-cd2bab77a390" providerId="ADAL" clId="{3598FBA1-59ED-4C59-A5B4-1D6E8AA8E020}" dt="2021-02-11T14:19:57.842" v="2324" actId="20577"/>
          <ac:spMkLst>
            <pc:docMk/>
            <pc:sldMk cId="3300356148" sldId="10222"/>
            <ac:spMk id="13" creationId="{5865844A-B378-4D24-B7F0-B5D3709F5455}"/>
          </ac:spMkLst>
        </pc:spChg>
      </pc:sldChg>
      <pc:sldChg chg="addSp delSp modSp mod modNotesTx">
        <pc:chgData name="Roman Abylkhatov" userId="2e959579-b379-4599-8299-cd2bab77a390" providerId="ADAL" clId="{3598FBA1-59ED-4C59-A5B4-1D6E8AA8E020}" dt="2021-03-23T14:27:01.557" v="3096" actId="313"/>
        <pc:sldMkLst>
          <pc:docMk/>
          <pc:sldMk cId="856216650" sldId="10223"/>
        </pc:sldMkLst>
        <pc:spChg chg="mod">
          <ac:chgData name="Roman Abylkhatov" userId="2e959579-b379-4599-8299-cd2bab77a390" providerId="ADAL" clId="{3598FBA1-59ED-4C59-A5B4-1D6E8AA8E020}" dt="2021-03-23T14:25:55.554" v="3083" actId="13926"/>
          <ac:spMkLst>
            <pc:docMk/>
            <pc:sldMk cId="856216650" sldId="10223"/>
            <ac:spMk id="2" creationId="{45010FE8-BF09-4146-B084-66CB05B66FD9}"/>
          </ac:spMkLst>
        </pc:spChg>
        <pc:spChg chg="mod">
          <ac:chgData name="Roman Abylkhatov" userId="2e959579-b379-4599-8299-cd2bab77a390" providerId="ADAL" clId="{3598FBA1-59ED-4C59-A5B4-1D6E8AA8E020}" dt="2021-03-23T14:25:59.458" v="3084" actId="13926"/>
          <ac:spMkLst>
            <pc:docMk/>
            <pc:sldMk cId="856216650" sldId="10223"/>
            <ac:spMk id="3" creationId="{4227308A-4FE9-4C05-BB5D-16C9B8CF8C09}"/>
          </ac:spMkLst>
        </pc:spChg>
        <pc:spChg chg="mod">
          <ac:chgData name="Roman Abylkhatov" userId="2e959579-b379-4599-8299-cd2bab77a390" providerId="ADAL" clId="{3598FBA1-59ED-4C59-A5B4-1D6E8AA8E020}" dt="2021-03-23T14:27:01.557" v="3096" actId="313"/>
          <ac:spMkLst>
            <pc:docMk/>
            <pc:sldMk cId="856216650" sldId="10223"/>
            <ac:spMk id="4" creationId="{AD877597-C58A-4F11-971F-738C8C342DDF}"/>
          </ac:spMkLst>
        </pc:spChg>
        <pc:spChg chg="mod">
          <ac:chgData name="Roman Abylkhatov" userId="2e959579-b379-4599-8299-cd2bab77a390" providerId="ADAL" clId="{3598FBA1-59ED-4C59-A5B4-1D6E8AA8E020}" dt="2021-03-23T14:26:14.177" v="3089" actId="13926"/>
          <ac:spMkLst>
            <pc:docMk/>
            <pc:sldMk cId="856216650" sldId="10223"/>
            <ac:spMk id="15" creationId="{4D635081-5C14-4453-98A4-27FF3E58A236}"/>
          </ac:spMkLst>
        </pc:spChg>
        <pc:spChg chg="mod">
          <ac:chgData name="Roman Abylkhatov" userId="2e959579-b379-4599-8299-cd2bab77a390" providerId="ADAL" clId="{3598FBA1-59ED-4C59-A5B4-1D6E8AA8E020}" dt="2021-02-04T14:10:04.715" v="758" actId="404"/>
          <ac:spMkLst>
            <pc:docMk/>
            <pc:sldMk cId="856216650" sldId="10223"/>
            <ac:spMk id="33" creationId="{F0C1CE1F-5742-4079-A4DA-DA19F30BA6F7}"/>
          </ac:spMkLst>
        </pc:spChg>
        <pc:spChg chg="mod">
          <ac:chgData name="Roman Abylkhatov" userId="2e959579-b379-4599-8299-cd2bab77a390" providerId="ADAL" clId="{3598FBA1-59ED-4C59-A5B4-1D6E8AA8E020}" dt="2021-03-23T14:26:05.691" v="3087" actId="13926"/>
          <ac:spMkLst>
            <pc:docMk/>
            <pc:sldMk cId="856216650" sldId="10223"/>
            <ac:spMk id="46" creationId="{423E3344-0D3E-40C6-A30D-D9146C16FFD2}"/>
          </ac:spMkLst>
        </pc:spChg>
        <pc:graphicFrameChg chg="add del mod">
          <ac:chgData name="Roman Abylkhatov" userId="2e959579-b379-4599-8299-cd2bab77a390" providerId="ADAL" clId="{3598FBA1-59ED-4C59-A5B4-1D6E8AA8E020}" dt="2021-02-04T14:17:47.284" v="841" actId="478"/>
          <ac:graphicFrameMkLst>
            <pc:docMk/>
            <pc:sldMk cId="856216650" sldId="10223"/>
            <ac:graphicFrameMk id="7" creationId="{CB1200E0-D5CC-427B-ACBE-79A30B4FD8C3}"/>
          </ac:graphicFrameMkLst>
        </pc:graphicFrameChg>
        <pc:graphicFrameChg chg="add del mod">
          <ac:chgData name="Roman Abylkhatov" userId="2e959579-b379-4599-8299-cd2bab77a390" providerId="ADAL" clId="{3598FBA1-59ED-4C59-A5B4-1D6E8AA8E020}" dt="2021-02-04T14:18:07.397" v="846" actId="478"/>
          <ac:graphicFrameMkLst>
            <pc:docMk/>
            <pc:sldMk cId="856216650" sldId="10223"/>
            <ac:graphicFrameMk id="8" creationId="{D0318A4A-01F1-4206-8BBD-444A2C21DD37}"/>
          </ac:graphicFrameMkLst>
        </pc:graphicFrameChg>
        <pc:graphicFrameChg chg="add del mod">
          <ac:chgData name="Roman Abylkhatov" userId="2e959579-b379-4599-8299-cd2bab77a390" providerId="ADAL" clId="{3598FBA1-59ED-4C59-A5B4-1D6E8AA8E020}" dt="2021-02-04T14:18:35.721" v="848" actId="478"/>
          <ac:graphicFrameMkLst>
            <pc:docMk/>
            <pc:sldMk cId="856216650" sldId="10223"/>
            <ac:graphicFrameMk id="10" creationId="{BB014BC2-584F-4A24-85C7-8004E03853A9}"/>
          </ac:graphicFrameMkLst>
        </pc:graphicFrameChg>
      </pc:sldChg>
      <pc:sldChg chg="modSp add del mod">
        <pc:chgData name="Roman Abylkhatov" userId="2e959579-b379-4599-8299-cd2bab77a390" providerId="ADAL" clId="{3598FBA1-59ED-4C59-A5B4-1D6E8AA8E020}" dt="2021-02-11T14:18:55.718" v="2305" actId="47"/>
        <pc:sldMkLst>
          <pc:docMk/>
          <pc:sldMk cId="2512657942" sldId="10224"/>
        </pc:sldMkLst>
        <pc:spChg chg="mod">
          <ac:chgData name="Roman Abylkhatov" userId="2e959579-b379-4599-8299-cd2bab77a390" providerId="ADAL" clId="{3598FBA1-59ED-4C59-A5B4-1D6E8AA8E020}" dt="2021-02-04T14:12:59.521" v="836" actId="33524"/>
          <ac:spMkLst>
            <pc:docMk/>
            <pc:sldMk cId="2512657942" sldId="10224"/>
            <ac:spMk id="6" creationId="{B42DDD8B-A225-4AEC-B7E5-73014FBF653C}"/>
          </ac:spMkLst>
        </pc:spChg>
        <pc:spChg chg="mod">
          <ac:chgData name="Roman Abylkhatov" userId="2e959579-b379-4599-8299-cd2bab77a390" providerId="ADAL" clId="{3598FBA1-59ED-4C59-A5B4-1D6E8AA8E020}" dt="2021-02-04T14:12:02.487" v="823" actId="20577"/>
          <ac:spMkLst>
            <pc:docMk/>
            <pc:sldMk cId="2512657942" sldId="10224"/>
            <ac:spMk id="33" creationId="{F0C1CE1F-5742-4079-A4DA-DA19F30BA6F7}"/>
          </ac:spMkLst>
        </pc:spChg>
      </pc:sldChg>
      <pc:sldChg chg="add del">
        <pc:chgData name="Roman Abylkhatov" userId="2e959579-b379-4599-8299-cd2bab77a390" providerId="ADAL" clId="{3598FBA1-59ED-4C59-A5B4-1D6E8AA8E020}" dt="2021-02-11T14:18:54.215" v="2304" actId="47"/>
        <pc:sldMkLst>
          <pc:docMk/>
          <pc:sldMk cId="2612348101" sldId="10225"/>
        </pc:sldMkLst>
      </pc:sldChg>
      <pc:sldChg chg="addSp delSp modSp new mod ord modNotesTx">
        <pc:chgData name="Roman Abylkhatov" userId="2e959579-b379-4599-8299-cd2bab77a390" providerId="ADAL" clId="{3598FBA1-59ED-4C59-A5B4-1D6E8AA8E020}" dt="2021-02-25T14:12:55.068" v="2462" actId="20577"/>
        <pc:sldMkLst>
          <pc:docMk/>
          <pc:sldMk cId="2744971081" sldId="10226"/>
        </pc:sldMkLst>
        <pc:spChg chg="mod">
          <ac:chgData name="Roman Abylkhatov" userId="2e959579-b379-4599-8299-cd2bab77a390" providerId="ADAL" clId="{3598FBA1-59ED-4C59-A5B4-1D6E8AA8E020}" dt="2021-02-04T14:19:10.451" v="872" actId="20577"/>
          <ac:spMkLst>
            <pc:docMk/>
            <pc:sldMk cId="2744971081" sldId="10226"/>
            <ac:spMk id="2" creationId="{CC40D7E0-D5FA-4A86-93CD-A73C19FDE61A}"/>
          </ac:spMkLst>
        </pc:spChg>
        <pc:spChg chg="add del mod">
          <ac:chgData name="Roman Abylkhatov" userId="2e959579-b379-4599-8299-cd2bab77a390" providerId="ADAL" clId="{3598FBA1-59ED-4C59-A5B4-1D6E8AA8E020}" dt="2021-02-04T14:19:35.665" v="880" actId="478"/>
          <ac:spMkLst>
            <pc:docMk/>
            <pc:sldMk cId="2744971081" sldId="10226"/>
            <ac:spMk id="3" creationId="{18F1A71A-148D-4051-B575-980F6CAA9737}"/>
          </ac:spMkLst>
        </pc:spChg>
        <pc:spChg chg="mod">
          <ac:chgData name="Roman Abylkhatov" userId="2e959579-b379-4599-8299-cd2bab77a390" providerId="ADAL" clId="{3598FBA1-59ED-4C59-A5B4-1D6E8AA8E020}" dt="2021-02-04T14:41:56.709" v="1337" actId="14100"/>
          <ac:spMkLst>
            <pc:docMk/>
            <pc:sldMk cId="2744971081" sldId="10226"/>
            <ac:spMk id="5" creationId="{DCACA0F7-D8FB-43C8-8DDC-B70EB0228F25}"/>
          </ac:spMkLst>
        </pc:spChg>
        <pc:spChg chg="mod">
          <ac:chgData name="Roman Abylkhatov" userId="2e959579-b379-4599-8299-cd2bab77a390" providerId="ADAL" clId="{3598FBA1-59ED-4C59-A5B4-1D6E8AA8E020}" dt="2021-02-04T14:19:43.031" v="881"/>
          <ac:spMkLst>
            <pc:docMk/>
            <pc:sldMk cId="2744971081" sldId="10226"/>
            <ac:spMk id="7" creationId="{980DCD9E-1565-480F-8834-1FCB8FB7778C}"/>
          </ac:spMkLst>
        </pc:spChg>
        <pc:spChg chg="mod">
          <ac:chgData name="Roman Abylkhatov" userId="2e959579-b379-4599-8299-cd2bab77a390" providerId="ADAL" clId="{3598FBA1-59ED-4C59-A5B4-1D6E8AA8E020}" dt="2021-02-04T14:19:43.031" v="881"/>
          <ac:spMkLst>
            <pc:docMk/>
            <pc:sldMk cId="2744971081" sldId="10226"/>
            <ac:spMk id="8" creationId="{65DC38E7-D6C8-4469-BB7C-74D5DA5F6A86}"/>
          </ac:spMkLst>
        </pc:spChg>
        <pc:spChg chg="del mod topLvl">
          <ac:chgData name="Roman Abylkhatov" userId="2e959579-b379-4599-8299-cd2bab77a390" providerId="ADAL" clId="{3598FBA1-59ED-4C59-A5B4-1D6E8AA8E020}" dt="2021-02-04T14:35:40.085" v="1254" actId="478"/>
          <ac:spMkLst>
            <pc:docMk/>
            <pc:sldMk cId="2744971081" sldId="10226"/>
            <ac:spMk id="10" creationId="{D3FEB681-4CD7-44E8-A20B-DCE7036A99FC}"/>
          </ac:spMkLst>
        </pc:spChg>
        <pc:spChg chg="mod">
          <ac:chgData name="Roman Abylkhatov" userId="2e959579-b379-4599-8299-cd2bab77a390" providerId="ADAL" clId="{3598FBA1-59ED-4C59-A5B4-1D6E8AA8E020}" dt="2021-02-04T14:22:43.066" v="969"/>
          <ac:spMkLst>
            <pc:docMk/>
            <pc:sldMk cId="2744971081" sldId="10226"/>
            <ac:spMk id="12" creationId="{8C52B951-A442-4BA9-A709-4398A7E1DB20}"/>
          </ac:spMkLst>
        </pc:spChg>
        <pc:spChg chg="mod">
          <ac:chgData name="Roman Abylkhatov" userId="2e959579-b379-4599-8299-cd2bab77a390" providerId="ADAL" clId="{3598FBA1-59ED-4C59-A5B4-1D6E8AA8E020}" dt="2021-02-04T14:22:43.066" v="969"/>
          <ac:spMkLst>
            <pc:docMk/>
            <pc:sldMk cId="2744971081" sldId="10226"/>
            <ac:spMk id="13" creationId="{C7F1CF0E-DF80-408B-97ED-81C638CD96DF}"/>
          </ac:spMkLst>
        </pc:spChg>
        <pc:spChg chg="mod">
          <ac:chgData name="Roman Abylkhatov" userId="2e959579-b379-4599-8299-cd2bab77a390" providerId="ADAL" clId="{3598FBA1-59ED-4C59-A5B4-1D6E8AA8E020}" dt="2021-02-04T14:41:52.769" v="1336" actId="14100"/>
          <ac:spMkLst>
            <pc:docMk/>
            <pc:sldMk cId="2744971081" sldId="10226"/>
            <ac:spMk id="15" creationId="{CBDE199F-738C-48F9-B2A1-07D56F822D7E}"/>
          </ac:spMkLst>
        </pc:spChg>
        <pc:spChg chg="mod">
          <ac:chgData name="Roman Abylkhatov" userId="2e959579-b379-4599-8299-cd2bab77a390" providerId="ADAL" clId="{3598FBA1-59ED-4C59-A5B4-1D6E8AA8E020}" dt="2021-02-04T14:24:32.429" v="1019"/>
          <ac:spMkLst>
            <pc:docMk/>
            <pc:sldMk cId="2744971081" sldId="10226"/>
            <ac:spMk id="17" creationId="{E2F1FDBB-D7C2-4066-81A0-81490BE00D94}"/>
          </ac:spMkLst>
        </pc:spChg>
        <pc:spChg chg="mod">
          <ac:chgData name="Roman Abylkhatov" userId="2e959579-b379-4599-8299-cd2bab77a390" providerId="ADAL" clId="{3598FBA1-59ED-4C59-A5B4-1D6E8AA8E020}" dt="2021-02-04T14:24:32.429" v="1019"/>
          <ac:spMkLst>
            <pc:docMk/>
            <pc:sldMk cId="2744971081" sldId="10226"/>
            <ac:spMk id="18" creationId="{A01E7263-0BFC-4A6C-B35E-F66DA3B777A1}"/>
          </ac:spMkLst>
        </pc:spChg>
        <pc:spChg chg="mod">
          <ac:chgData name="Roman Abylkhatov" userId="2e959579-b379-4599-8299-cd2bab77a390" providerId="ADAL" clId="{3598FBA1-59ED-4C59-A5B4-1D6E8AA8E020}" dt="2021-02-04T14:41:47.266" v="1335" actId="14100"/>
          <ac:spMkLst>
            <pc:docMk/>
            <pc:sldMk cId="2744971081" sldId="10226"/>
            <ac:spMk id="20" creationId="{A76BCD27-A91E-41A2-9AE0-9E606EDC08EC}"/>
          </ac:spMkLst>
        </pc:spChg>
        <pc:spChg chg="mod">
          <ac:chgData name="Roman Abylkhatov" userId="2e959579-b379-4599-8299-cd2bab77a390" providerId="ADAL" clId="{3598FBA1-59ED-4C59-A5B4-1D6E8AA8E020}" dt="2021-02-04T14:24:49.650" v="1031"/>
          <ac:spMkLst>
            <pc:docMk/>
            <pc:sldMk cId="2744971081" sldId="10226"/>
            <ac:spMk id="22" creationId="{9E0600C6-02CC-44C6-993F-A119D0FFBD98}"/>
          </ac:spMkLst>
        </pc:spChg>
        <pc:spChg chg="mod">
          <ac:chgData name="Roman Abylkhatov" userId="2e959579-b379-4599-8299-cd2bab77a390" providerId="ADAL" clId="{3598FBA1-59ED-4C59-A5B4-1D6E8AA8E020}" dt="2021-02-04T14:24:49.650" v="1031"/>
          <ac:spMkLst>
            <pc:docMk/>
            <pc:sldMk cId="2744971081" sldId="10226"/>
            <ac:spMk id="23" creationId="{25D287C0-19E5-462B-89A8-CC5EE45568D5}"/>
          </ac:spMkLst>
        </pc:spChg>
        <pc:spChg chg="add del mod">
          <ac:chgData name="Roman Abylkhatov" userId="2e959579-b379-4599-8299-cd2bab77a390" providerId="ADAL" clId="{3598FBA1-59ED-4C59-A5B4-1D6E8AA8E020}" dt="2021-02-04T14:40:36.549" v="1291" actId="478"/>
          <ac:spMkLst>
            <pc:docMk/>
            <pc:sldMk cId="2744971081" sldId="10226"/>
            <ac:spMk id="25" creationId="{0CB8671E-784C-43F4-85CF-4B9CC0905899}"/>
          </ac:spMkLst>
        </pc:spChg>
        <pc:spChg chg="add mod">
          <ac:chgData name="Roman Abylkhatov" userId="2e959579-b379-4599-8299-cd2bab77a390" providerId="ADAL" clId="{3598FBA1-59ED-4C59-A5B4-1D6E8AA8E020}" dt="2021-02-04T14:48:45.032" v="1528" actId="6549"/>
          <ac:spMkLst>
            <pc:docMk/>
            <pc:sldMk cId="2744971081" sldId="10226"/>
            <ac:spMk id="26" creationId="{663C5757-1699-4EEC-B106-3EDCEBC77B60}"/>
          </ac:spMkLst>
        </pc:spChg>
        <pc:spChg chg="add mod">
          <ac:chgData name="Roman Abylkhatov" userId="2e959579-b379-4599-8299-cd2bab77a390" providerId="ADAL" clId="{3598FBA1-59ED-4C59-A5B4-1D6E8AA8E020}" dt="2021-02-04T14:40:02.290" v="1279"/>
          <ac:spMkLst>
            <pc:docMk/>
            <pc:sldMk cId="2744971081" sldId="10226"/>
            <ac:spMk id="27" creationId="{DCE5A92F-C92B-4F66-874C-5662BB0FE97E}"/>
          </ac:spMkLst>
        </pc:spChg>
        <pc:spChg chg="mod">
          <ac:chgData name="Roman Abylkhatov" userId="2e959579-b379-4599-8299-cd2bab77a390" providerId="ADAL" clId="{3598FBA1-59ED-4C59-A5B4-1D6E8AA8E020}" dt="2021-02-04T14:40:02.290" v="1279"/>
          <ac:spMkLst>
            <pc:docMk/>
            <pc:sldMk cId="2744971081" sldId="10226"/>
            <ac:spMk id="30" creationId="{F6A2ECE2-C1EF-4E34-8665-A7902605E514}"/>
          </ac:spMkLst>
        </pc:spChg>
        <pc:spChg chg="mod">
          <ac:chgData name="Roman Abylkhatov" userId="2e959579-b379-4599-8299-cd2bab77a390" providerId="ADAL" clId="{3598FBA1-59ED-4C59-A5B4-1D6E8AA8E020}" dt="2021-02-04T14:40:02.290" v="1279"/>
          <ac:spMkLst>
            <pc:docMk/>
            <pc:sldMk cId="2744971081" sldId="10226"/>
            <ac:spMk id="31" creationId="{75C682D5-CC31-495A-A800-10CFE6264E1B}"/>
          </ac:spMkLst>
        </pc:spChg>
        <pc:spChg chg="mod">
          <ac:chgData name="Roman Abylkhatov" userId="2e959579-b379-4599-8299-cd2bab77a390" providerId="ADAL" clId="{3598FBA1-59ED-4C59-A5B4-1D6E8AA8E020}" dt="2021-02-04T14:40:02.290" v="1279"/>
          <ac:spMkLst>
            <pc:docMk/>
            <pc:sldMk cId="2744971081" sldId="10226"/>
            <ac:spMk id="32" creationId="{915036A0-D284-47F3-9C31-C1DF2429B9F2}"/>
          </ac:spMkLst>
        </pc:spChg>
        <pc:spChg chg="mod">
          <ac:chgData name="Roman Abylkhatov" userId="2e959579-b379-4599-8299-cd2bab77a390" providerId="ADAL" clId="{3598FBA1-59ED-4C59-A5B4-1D6E8AA8E020}" dt="2021-02-04T14:40:02.290" v="1279"/>
          <ac:spMkLst>
            <pc:docMk/>
            <pc:sldMk cId="2744971081" sldId="10226"/>
            <ac:spMk id="33" creationId="{570D7C7B-ECF0-4110-92CD-7480EA4A01C4}"/>
          </ac:spMkLst>
        </pc:spChg>
        <pc:spChg chg="mod">
          <ac:chgData name="Roman Abylkhatov" userId="2e959579-b379-4599-8299-cd2bab77a390" providerId="ADAL" clId="{3598FBA1-59ED-4C59-A5B4-1D6E8AA8E020}" dt="2021-02-04T14:40:02.290" v="1279"/>
          <ac:spMkLst>
            <pc:docMk/>
            <pc:sldMk cId="2744971081" sldId="10226"/>
            <ac:spMk id="34" creationId="{03F098B4-19BD-40AD-B27E-59F38CB2EA3F}"/>
          </ac:spMkLst>
        </pc:spChg>
        <pc:spChg chg="mod">
          <ac:chgData name="Roman Abylkhatov" userId="2e959579-b379-4599-8299-cd2bab77a390" providerId="ADAL" clId="{3598FBA1-59ED-4C59-A5B4-1D6E8AA8E020}" dt="2021-02-04T14:40:02.290" v="1279"/>
          <ac:spMkLst>
            <pc:docMk/>
            <pc:sldMk cId="2744971081" sldId="10226"/>
            <ac:spMk id="35" creationId="{7BB15BB9-4E62-4708-A508-3757EEEFF5D2}"/>
          </ac:spMkLst>
        </pc:spChg>
        <pc:spChg chg="mod">
          <ac:chgData name="Roman Abylkhatov" userId="2e959579-b379-4599-8299-cd2bab77a390" providerId="ADAL" clId="{3598FBA1-59ED-4C59-A5B4-1D6E8AA8E020}" dt="2021-02-04T14:48:26.375" v="1520" actId="20577"/>
          <ac:spMkLst>
            <pc:docMk/>
            <pc:sldMk cId="2744971081" sldId="10226"/>
            <ac:spMk id="39" creationId="{E5320018-A66E-49D1-8E50-32D3EBB61CB8}"/>
          </ac:spMkLst>
        </pc:spChg>
        <pc:spChg chg="mod">
          <ac:chgData name="Roman Abylkhatov" userId="2e959579-b379-4599-8299-cd2bab77a390" providerId="ADAL" clId="{3598FBA1-59ED-4C59-A5B4-1D6E8AA8E020}" dt="2021-02-04T14:45:31.404" v="1342"/>
          <ac:spMkLst>
            <pc:docMk/>
            <pc:sldMk cId="2744971081" sldId="10226"/>
            <ac:spMk id="41" creationId="{F1BDF2D6-0E5D-403A-9E43-BEE4486364D3}"/>
          </ac:spMkLst>
        </pc:spChg>
        <pc:spChg chg="mod">
          <ac:chgData name="Roman Abylkhatov" userId="2e959579-b379-4599-8299-cd2bab77a390" providerId="ADAL" clId="{3598FBA1-59ED-4C59-A5B4-1D6E8AA8E020}" dt="2021-02-04T14:45:31.404" v="1342"/>
          <ac:spMkLst>
            <pc:docMk/>
            <pc:sldMk cId="2744971081" sldId="10226"/>
            <ac:spMk id="42" creationId="{574C816B-4B98-4CCA-8ABF-EB122DB6E637}"/>
          </ac:spMkLst>
        </pc:spChg>
        <pc:spChg chg="mod">
          <ac:chgData name="Roman Abylkhatov" userId="2e959579-b379-4599-8299-cd2bab77a390" providerId="ADAL" clId="{3598FBA1-59ED-4C59-A5B4-1D6E8AA8E020}" dt="2021-02-04T14:48:29.736" v="1523" actId="20577"/>
          <ac:spMkLst>
            <pc:docMk/>
            <pc:sldMk cId="2744971081" sldId="10226"/>
            <ac:spMk id="44" creationId="{5E860710-747A-4001-8935-A914C88E7E60}"/>
          </ac:spMkLst>
        </pc:spChg>
        <pc:spChg chg="mod">
          <ac:chgData name="Roman Abylkhatov" userId="2e959579-b379-4599-8299-cd2bab77a390" providerId="ADAL" clId="{3598FBA1-59ED-4C59-A5B4-1D6E8AA8E020}" dt="2021-02-04T14:47:06.135" v="1423"/>
          <ac:spMkLst>
            <pc:docMk/>
            <pc:sldMk cId="2744971081" sldId="10226"/>
            <ac:spMk id="46" creationId="{353848C8-DF97-4DEC-B8C8-C4E1F9403338}"/>
          </ac:spMkLst>
        </pc:spChg>
        <pc:spChg chg="mod">
          <ac:chgData name="Roman Abylkhatov" userId="2e959579-b379-4599-8299-cd2bab77a390" providerId="ADAL" clId="{3598FBA1-59ED-4C59-A5B4-1D6E8AA8E020}" dt="2021-02-04T14:47:06.135" v="1423"/>
          <ac:spMkLst>
            <pc:docMk/>
            <pc:sldMk cId="2744971081" sldId="10226"/>
            <ac:spMk id="47" creationId="{9B2B3A3C-B681-48F8-8030-86924AEF7F7C}"/>
          </ac:spMkLst>
        </pc:spChg>
        <pc:spChg chg="mod">
          <ac:chgData name="Roman Abylkhatov" userId="2e959579-b379-4599-8299-cd2bab77a390" providerId="ADAL" clId="{3598FBA1-59ED-4C59-A5B4-1D6E8AA8E020}" dt="2021-02-25T14:12:24.006" v="2432"/>
          <ac:spMkLst>
            <pc:docMk/>
            <pc:sldMk cId="2744971081" sldId="10226"/>
            <ac:spMk id="49" creationId="{3DF022DA-B278-425B-9D81-E62B122B4177}"/>
          </ac:spMkLst>
        </pc:spChg>
        <pc:spChg chg="mod">
          <ac:chgData name="Roman Abylkhatov" userId="2e959579-b379-4599-8299-cd2bab77a390" providerId="ADAL" clId="{3598FBA1-59ED-4C59-A5B4-1D6E8AA8E020}" dt="2021-02-25T14:12:24.006" v="2432"/>
          <ac:spMkLst>
            <pc:docMk/>
            <pc:sldMk cId="2744971081" sldId="10226"/>
            <ac:spMk id="51" creationId="{6B1AF25B-FE86-40DB-8102-555A996BB3B5}"/>
          </ac:spMkLst>
        </pc:spChg>
        <pc:spChg chg="mod">
          <ac:chgData name="Roman Abylkhatov" userId="2e959579-b379-4599-8299-cd2bab77a390" providerId="ADAL" clId="{3598FBA1-59ED-4C59-A5B4-1D6E8AA8E020}" dt="2021-02-25T14:12:24.006" v="2432"/>
          <ac:spMkLst>
            <pc:docMk/>
            <pc:sldMk cId="2744971081" sldId="10226"/>
            <ac:spMk id="52" creationId="{EF848E85-B961-4106-8034-6A224833D239}"/>
          </ac:spMkLst>
        </pc:spChg>
        <pc:spChg chg="mod">
          <ac:chgData name="Roman Abylkhatov" userId="2e959579-b379-4599-8299-cd2bab77a390" providerId="ADAL" clId="{3598FBA1-59ED-4C59-A5B4-1D6E8AA8E020}" dt="2021-02-25T14:12:24.006" v="2432"/>
          <ac:spMkLst>
            <pc:docMk/>
            <pc:sldMk cId="2744971081" sldId="10226"/>
            <ac:spMk id="54" creationId="{3B1CC8F3-252A-453A-BE4E-C3EBE5C5CEB0}"/>
          </ac:spMkLst>
        </pc:spChg>
        <pc:spChg chg="mod">
          <ac:chgData name="Roman Abylkhatov" userId="2e959579-b379-4599-8299-cd2bab77a390" providerId="ADAL" clId="{3598FBA1-59ED-4C59-A5B4-1D6E8AA8E020}" dt="2021-02-25T14:12:24.006" v="2432"/>
          <ac:spMkLst>
            <pc:docMk/>
            <pc:sldMk cId="2744971081" sldId="10226"/>
            <ac:spMk id="56" creationId="{064D7EB5-B3D3-421A-964F-12B9EF482E5B}"/>
          </ac:spMkLst>
        </pc:spChg>
        <pc:spChg chg="mod">
          <ac:chgData name="Roman Abylkhatov" userId="2e959579-b379-4599-8299-cd2bab77a390" providerId="ADAL" clId="{3598FBA1-59ED-4C59-A5B4-1D6E8AA8E020}" dt="2021-02-25T14:12:24.006" v="2432"/>
          <ac:spMkLst>
            <pc:docMk/>
            <pc:sldMk cId="2744971081" sldId="10226"/>
            <ac:spMk id="57" creationId="{B1096FDF-6005-458E-AAE6-33C960DAABEB}"/>
          </ac:spMkLst>
        </pc:spChg>
        <pc:spChg chg="mod">
          <ac:chgData name="Roman Abylkhatov" userId="2e959579-b379-4599-8299-cd2bab77a390" providerId="ADAL" clId="{3598FBA1-59ED-4C59-A5B4-1D6E8AA8E020}" dt="2021-02-25T14:12:24.006" v="2432"/>
          <ac:spMkLst>
            <pc:docMk/>
            <pc:sldMk cId="2744971081" sldId="10226"/>
            <ac:spMk id="59" creationId="{017208ED-FE7E-466B-A1A6-5593960E5A38}"/>
          </ac:spMkLst>
        </pc:spChg>
        <pc:spChg chg="mod">
          <ac:chgData name="Roman Abylkhatov" userId="2e959579-b379-4599-8299-cd2bab77a390" providerId="ADAL" clId="{3598FBA1-59ED-4C59-A5B4-1D6E8AA8E020}" dt="2021-02-25T14:12:24.006" v="2432"/>
          <ac:spMkLst>
            <pc:docMk/>
            <pc:sldMk cId="2744971081" sldId="10226"/>
            <ac:spMk id="61" creationId="{0BFECBF1-01DE-4DE2-9740-F1F55E40DB27}"/>
          </ac:spMkLst>
        </pc:spChg>
        <pc:spChg chg="mod">
          <ac:chgData name="Roman Abylkhatov" userId="2e959579-b379-4599-8299-cd2bab77a390" providerId="ADAL" clId="{3598FBA1-59ED-4C59-A5B4-1D6E8AA8E020}" dt="2021-02-25T14:12:24.006" v="2432"/>
          <ac:spMkLst>
            <pc:docMk/>
            <pc:sldMk cId="2744971081" sldId="10226"/>
            <ac:spMk id="62" creationId="{EB5686B9-73E2-4391-8D01-B5AF121533CB}"/>
          </ac:spMkLst>
        </pc:spChg>
        <pc:spChg chg="mod">
          <ac:chgData name="Roman Abylkhatov" userId="2e959579-b379-4599-8299-cd2bab77a390" providerId="ADAL" clId="{3598FBA1-59ED-4C59-A5B4-1D6E8AA8E020}" dt="2021-02-25T14:12:24.006" v="2432"/>
          <ac:spMkLst>
            <pc:docMk/>
            <pc:sldMk cId="2744971081" sldId="10226"/>
            <ac:spMk id="64" creationId="{9E83BCAD-57E6-4A1A-9662-26AD140179AA}"/>
          </ac:spMkLst>
        </pc:spChg>
        <pc:spChg chg="mod">
          <ac:chgData name="Roman Abylkhatov" userId="2e959579-b379-4599-8299-cd2bab77a390" providerId="ADAL" clId="{3598FBA1-59ED-4C59-A5B4-1D6E8AA8E020}" dt="2021-02-25T14:12:24.006" v="2432"/>
          <ac:spMkLst>
            <pc:docMk/>
            <pc:sldMk cId="2744971081" sldId="10226"/>
            <ac:spMk id="66" creationId="{B21F0D3E-FAE8-469C-811B-661AF417AEB8}"/>
          </ac:spMkLst>
        </pc:spChg>
        <pc:spChg chg="mod">
          <ac:chgData name="Roman Abylkhatov" userId="2e959579-b379-4599-8299-cd2bab77a390" providerId="ADAL" clId="{3598FBA1-59ED-4C59-A5B4-1D6E8AA8E020}" dt="2021-02-25T14:12:24.006" v="2432"/>
          <ac:spMkLst>
            <pc:docMk/>
            <pc:sldMk cId="2744971081" sldId="10226"/>
            <ac:spMk id="67" creationId="{DCD35591-D181-44B6-90EA-D842DC68C45C}"/>
          </ac:spMkLst>
        </pc:spChg>
        <pc:spChg chg="mod">
          <ac:chgData name="Roman Abylkhatov" userId="2e959579-b379-4599-8299-cd2bab77a390" providerId="ADAL" clId="{3598FBA1-59ED-4C59-A5B4-1D6E8AA8E020}" dt="2021-02-25T14:12:24.006" v="2432"/>
          <ac:spMkLst>
            <pc:docMk/>
            <pc:sldMk cId="2744971081" sldId="10226"/>
            <ac:spMk id="69" creationId="{C9AA25CC-2F91-4DD9-9B89-9A8543BC1050}"/>
          </ac:spMkLst>
        </pc:spChg>
        <pc:spChg chg="mod">
          <ac:chgData name="Roman Abylkhatov" userId="2e959579-b379-4599-8299-cd2bab77a390" providerId="ADAL" clId="{3598FBA1-59ED-4C59-A5B4-1D6E8AA8E020}" dt="2021-02-25T14:12:24.006" v="2432"/>
          <ac:spMkLst>
            <pc:docMk/>
            <pc:sldMk cId="2744971081" sldId="10226"/>
            <ac:spMk id="71" creationId="{30804EB3-4123-479E-BBEE-627166182E7B}"/>
          </ac:spMkLst>
        </pc:spChg>
        <pc:spChg chg="mod">
          <ac:chgData name="Roman Abylkhatov" userId="2e959579-b379-4599-8299-cd2bab77a390" providerId="ADAL" clId="{3598FBA1-59ED-4C59-A5B4-1D6E8AA8E020}" dt="2021-02-25T14:12:24.006" v="2432"/>
          <ac:spMkLst>
            <pc:docMk/>
            <pc:sldMk cId="2744971081" sldId="10226"/>
            <ac:spMk id="72" creationId="{31849CF0-0FB2-4B3E-AC4B-BDE57E3FDA3D}"/>
          </ac:spMkLst>
        </pc:spChg>
        <pc:spChg chg="mod">
          <ac:chgData name="Roman Abylkhatov" userId="2e959579-b379-4599-8299-cd2bab77a390" providerId="ADAL" clId="{3598FBA1-59ED-4C59-A5B4-1D6E8AA8E020}" dt="2021-02-25T14:12:55.068" v="2462" actId="20577"/>
          <ac:spMkLst>
            <pc:docMk/>
            <pc:sldMk cId="2744971081" sldId="10226"/>
            <ac:spMk id="74" creationId="{D6DB623E-5BE1-4E5F-B54F-B6C5E9272ED0}"/>
          </ac:spMkLst>
        </pc:spChg>
        <pc:spChg chg="mod">
          <ac:chgData name="Roman Abylkhatov" userId="2e959579-b379-4599-8299-cd2bab77a390" providerId="ADAL" clId="{3598FBA1-59ED-4C59-A5B4-1D6E8AA8E020}" dt="2021-02-25T14:12:35.022" v="2434" actId="571"/>
          <ac:spMkLst>
            <pc:docMk/>
            <pc:sldMk cId="2744971081" sldId="10226"/>
            <ac:spMk id="76" creationId="{DB01C00E-AE4F-49C2-A687-73B65EB2938F}"/>
          </ac:spMkLst>
        </pc:spChg>
        <pc:spChg chg="mod">
          <ac:chgData name="Roman Abylkhatov" userId="2e959579-b379-4599-8299-cd2bab77a390" providerId="ADAL" clId="{3598FBA1-59ED-4C59-A5B4-1D6E8AA8E020}" dt="2021-02-25T14:12:35.022" v="2434" actId="571"/>
          <ac:spMkLst>
            <pc:docMk/>
            <pc:sldMk cId="2744971081" sldId="10226"/>
            <ac:spMk id="77" creationId="{058DB4EC-92E7-4C6C-92AB-2BAE995B1F52}"/>
          </ac:spMkLst>
        </pc:spChg>
        <pc:grpChg chg="add mod">
          <ac:chgData name="Roman Abylkhatov" userId="2e959579-b379-4599-8299-cd2bab77a390" providerId="ADAL" clId="{3598FBA1-59ED-4C59-A5B4-1D6E8AA8E020}" dt="2021-02-25T14:12:20.140" v="2431" actId="1035"/>
          <ac:grpSpMkLst>
            <pc:docMk/>
            <pc:sldMk cId="2744971081" sldId="10226"/>
            <ac:grpSpMk id="4" creationId="{2198C0BB-9516-4B5C-9E68-C156240CC915}"/>
          </ac:grpSpMkLst>
        </pc:grpChg>
        <pc:grpChg chg="mod">
          <ac:chgData name="Roman Abylkhatov" userId="2e959579-b379-4599-8299-cd2bab77a390" providerId="ADAL" clId="{3598FBA1-59ED-4C59-A5B4-1D6E8AA8E020}" dt="2021-02-04T14:19:43.031" v="881"/>
          <ac:grpSpMkLst>
            <pc:docMk/>
            <pc:sldMk cId="2744971081" sldId="10226"/>
            <ac:grpSpMk id="6" creationId="{CA703E1C-CB8D-4A0E-8619-2048FA9A9646}"/>
          </ac:grpSpMkLst>
        </pc:grpChg>
        <pc:grpChg chg="add del mod">
          <ac:chgData name="Roman Abylkhatov" userId="2e959579-b379-4599-8299-cd2bab77a390" providerId="ADAL" clId="{3598FBA1-59ED-4C59-A5B4-1D6E8AA8E020}" dt="2021-02-04T14:35:40.085" v="1254" actId="478"/>
          <ac:grpSpMkLst>
            <pc:docMk/>
            <pc:sldMk cId="2744971081" sldId="10226"/>
            <ac:grpSpMk id="9" creationId="{3E05843F-7AFF-48F8-A728-DE745E914A06}"/>
          </ac:grpSpMkLst>
        </pc:grpChg>
        <pc:grpChg chg="del mod topLvl">
          <ac:chgData name="Roman Abylkhatov" userId="2e959579-b379-4599-8299-cd2bab77a390" providerId="ADAL" clId="{3598FBA1-59ED-4C59-A5B4-1D6E8AA8E020}" dt="2021-02-04T14:35:42.437" v="1255" actId="478"/>
          <ac:grpSpMkLst>
            <pc:docMk/>
            <pc:sldMk cId="2744971081" sldId="10226"/>
            <ac:grpSpMk id="11" creationId="{72208912-1C2C-4AF2-A6D0-D22F025B1CFD}"/>
          </ac:grpSpMkLst>
        </pc:grpChg>
        <pc:grpChg chg="add mod">
          <ac:chgData name="Roman Abylkhatov" userId="2e959579-b379-4599-8299-cd2bab77a390" providerId="ADAL" clId="{3598FBA1-59ED-4C59-A5B4-1D6E8AA8E020}" dt="2021-02-25T14:12:20.140" v="2431" actId="1035"/>
          <ac:grpSpMkLst>
            <pc:docMk/>
            <pc:sldMk cId="2744971081" sldId="10226"/>
            <ac:grpSpMk id="14" creationId="{539AA6D0-2D2F-465A-8422-94D5CAB8CD89}"/>
          </ac:grpSpMkLst>
        </pc:grpChg>
        <pc:grpChg chg="mod">
          <ac:chgData name="Roman Abylkhatov" userId="2e959579-b379-4599-8299-cd2bab77a390" providerId="ADAL" clId="{3598FBA1-59ED-4C59-A5B4-1D6E8AA8E020}" dt="2021-02-04T14:24:32.429" v="1019"/>
          <ac:grpSpMkLst>
            <pc:docMk/>
            <pc:sldMk cId="2744971081" sldId="10226"/>
            <ac:grpSpMk id="16" creationId="{DB765834-44B4-4D59-B96A-4D07BD372023}"/>
          </ac:grpSpMkLst>
        </pc:grpChg>
        <pc:grpChg chg="add mod">
          <ac:chgData name="Roman Abylkhatov" userId="2e959579-b379-4599-8299-cd2bab77a390" providerId="ADAL" clId="{3598FBA1-59ED-4C59-A5B4-1D6E8AA8E020}" dt="2021-02-25T14:12:20.140" v="2431" actId="1035"/>
          <ac:grpSpMkLst>
            <pc:docMk/>
            <pc:sldMk cId="2744971081" sldId="10226"/>
            <ac:grpSpMk id="19" creationId="{72EB8C5C-B697-4A72-B004-8BB13B09543F}"/>
          </ac:grpSpMkLst>
        </pc:grpChg>
        <pc:grpChg chg="mod">
          <ac:chgData name="Roman Abylkhatov" userId="2e959579-b379-4599-8299-cd2bab77a390" providerId="ADAL" clId="{3598FBA1-59ED-4C59-A5B4-1D6E8AA8E020}" dt="2021-02-04T14:24:49.650" v="1031"/>
          <ac:grpSpMkLst>
            <pc:docMk/>
            <pc:sldMk cId="2744971081" sldId="10226"/>
            <ac:grpSpMk id="21" creationId="{5DC9501F-FA35-4CBA-820A-25888A78563D}"/>
          </ac:grpSpMkLst>
        </pc:grpChg>
        <pc:grpChg chg="add mod">
          <ac:chgData name="Roman Abylkhatov" userId="2e959579-b379-4599-8299-cd2bab77a390" providerId="ADAL" clId="{3598FBA1-59ED-4C59-A5B4-1D6E8AA8E020}" dt="2021-02-04T14:40:02.290" v="1279"/>
          <ac:grpSpMkLst>
            <pc:docMk/>
            <pc:sldMk cId="2744971081" sldId="10226"/>
            <ac:grpSpMk id="29" creationId="{8D250A39-0E81-43A6-AC4D-FC3740A5595A}"/>
          </ac:grpSpMkLst>
        </pc:grpChg>
        <pc:grpChg chg="add mod">
          <ac:chgData name="Roman Abylkhatov" userId="2e959579-b379-4599-8299-cd2bab77a390" providerId="ADAL" clId="{3598FBA1-59ED-4C59-A5B4-1D6E8AA8E020}" dt="2021-02-25T14:12:20.140" v="2431" actId="1035"/>
          <ac:grpSpMkLst>
            <pc:docMk/>
            <pc:sldMk cId="2744971081" sldId="10226"/>
            <ac:grpSpMk id="38" creationId="{A18C31A7-AD4B-4BE1-8AC5-ADCFF446E1DA}"/>
          </ac:grpSpMkLst>
        </pc:grpChg>
        <pc:grpChg chg="mod">
          <ac:chgData name="Roman Abylkhatov" userId="2e959579-b379-4599-8299-cd2bab77a390" providerId="ADAL" clId="{3598FBA1-59ED-4C59-A5B4-1D6E8AA8E020}" dt="2021-02-04T14:45:31.404" v="1342"/>
          <ac:grpSpMkLst>
            <pc:docMk/>
            <pc:sldMk cId="2744971081" sldId="10226"/>
            <ac:grpSpMk id="40" creationId="{FC462B02-7CD8-48DF-B448-363F78DD6D5A}"/>
          </ac:grpSpMkLst>
        </pc:grpChg>
        <pc:grpChg chg="add mod">
          <ac:chgData name="Roman Abylkhatov" userId="2e959579-b379-4599-8299-cd2bab77a390" providerId="ADAL" clId="{3598FBA1-59ED-4C59-A5B4-1D6E8AA8E020}" dt="2021-02-25T14:12:20.140" v="2431" actId="1035"/>
          <ac:grpSpMkLst>
            <pc:docMk/>
            <pc:sldMk cId="2744971081" sldId="10226"/>
            <ac:grpSpMk id="43" creationId="{97466D78-8CAC-4A75-8E32-811CF67024FD}"/>
          </ac:grpSpMkLst>
        </pc:grpChg>
        <pc:grpChg chg="mod">
          <ac:chgData name="Roman Abylkhatov" userId="2e959579-b379-4599-8299-cd2bab77a390" providerId="ADAL" clId="{3598FBA1-59ED-4C59-A5B4-1D6E8AA8E020}" dt="2021-02-04T14:47:06.135" v="1423"/>
          <ac:grpSpMkLst>
            <pc:docMk/>
            <pc:sldMk cId="2744971081" sldId="10226"/>
            <ac:grpSpMk id="45" creationId="{57EAAE2B-1B68-4BD9-9498-845ADE64CE64}"/>
          </ac:grpSpMkLst>
        </pc:grpChg>
        <pc:grpChg chg="add del mod">
          <ac:chgData name="Roman Abylkhatov" userId="2e959579-b379-4599-8299-cd2bab77a390" providerId="ADAL" clId="{3598FBA1-59ED-4C59-A5B4-1D6E8AA8E020}" dt="2021-02-25T14:12:24.933" v="2433"/>
          <ac:grpSpMkLst>
            <pc:docMk/>
            <pc:sldMk cId="2744971081" sldId="10226"/>
            <ac:grpSpMk id="48" creationId="{E892BE1F-598C-44C1-AC42-0FB2C16FF296}"/>
          </ac:grpSpMkLst>
        </pc:grpChg>
        <pc:grpChg chg="mod">
          <ac:chgData name="Roman Abylkhatov" userId="2e959579-b379-4599-8299-cd2bab77a390" providerId="ADAL" clId="{3598FBA1-59ED-4C59-A5B4-1D6E8AA8E020}" dt="2021-02-25T14:12:24.006" v="2432"/>
          <ac:grpSpMkLst>
            <pc:docMk/>
            <pc:sldMk cId="2744971081" sldId="10226"/>
            <ac:grpSpMk id="50" creationId="{E9107FA8-484D-459F-8B8F-831F842C3EBB}"/>
          </ac:grpSpMkLst>
        </pc:grpChg>
        <pc:grpChg chg="add del mod">
          <ac:chgData name="Roman Abylkhatov" userId="2e959579-b379-4599-8299-cd2bab77a390" providerId="ADAL" clId="{3598FBA1-59ED-4C59-A5B4-1D6E8AA8E020}" dt="2021-02-25T14:12:24.933" v="2433"/>
          <ac:grpSpMkLst>
            <pc:docMk/>
            <pc:sldMk cId="2744971081" sldId="10226"/>
            <ac:grpSpMk id="53" creationId="{9897BC95-C098-4087-850F-26C2957D932D}"/>
          </ac:grpSpMkLst>
        </pc:grpChg>
        <pc:grpChg chg="mod">
          <ac:chgData name="Roman Abylkhatov" userId="2e959579-b379-4599-8299-cd2bab77a390" providerId="ADAL" clId="{3598FBA1-59ED-4C59-A5B4-1D6E8AA8E020}" dt="2021-02-25T14:12:24.006" v="2432"/>
          <ac:grpSpMkLst>
            <pc:docMk/>
            <pc:sldMk cId="2744971081" sldId="10226"/>
            <ac:grpSpMk id="55" creationId="{D59E77FF-0807-48AD-AEE6-1AC3CADBD674}"/>
          </ac:grpSpMkLst>
        </pc:grpChg>
        <pc:grpChg chg="add del mod">
          <ac:chgData name="Roman Abylkhatov" userId="2e959579-b379-4599-8299-cd2bab77a390" providerId="ADAL" clId="{3598FBA1-59ED-4C59-A5B4-1D6E8AA8E020}" dt="2021-02-25T14:12:24.933" v="2433"/>
          <ac:grpSpMkLst>
            <pc:docMk/>
            <pc:sldMk cId="2744971081" sldId="10226"/>
            <ac:grpSpMk id="58" creationId="{8999AAC6-2EC3-4715-B36A-004EFC2B3F2E}"/>
          </ac:grpSpMkLst>
        </pc:grpChg>
        <pc:grpChg chg="mod">
          <ac:chgData name="Roman Abylkhatov" userId="2e959579-b379-4599-8299-cd2bab77a390" providerId="ADAL" clId="{3598FBA1-59ED-4C59-A5B4-1D6E8AA8E020}" dt="2021-02-25T14:12:24.006" v="2432"/>
          <ac:grpSpMkLst>
            <pc:docMk/>
            <pc:sldMk cId="2744971081" sldId="10226"/>
            <ac:grpSpMk id="60" creationId="{B895EC60-CAC8-4CC8-95F9-F2636C220239}"/>
          </ac:grpSpMkLst>
        </pc:grpChg>
        <pc:grpChg chg="add del mod">
          <ac:chgData name="Roman Abylkhatov" userId="2e959579-b379-4599-8299-cd2bab77a390" providerId="ADAL" clId="{3598FBA1-59ED-4C59-A5B4-1D6E8AA8E020}" dt="2021-02-25T14:12:24.933" v="2433"/>
          <ac:grpSpMkLst>
            <pc:docMk/>
            <pc:sldMk cId="2744971081" sldId="10226"/>
            <ac:grpSpMk id="63" creationId="{99C6CFA7-8DB1-4E4F-BA11-D5501E35E39D}"/>
          </ac:grpSpMkLst>
        </pc:grpChg>
        <pc:grpChg chg="mod">
          <ac:chgData name="Roman Abylkhatov" userId="2e959579-b379-4599-8299-cd2bab77a390" providerId="ADAL" clId="{3598FBA1-59ED-4C59-A5B4-1D6E8AA8E020}" dt="2021-02-25T14:12:24.006" v="2432"/>
          <ac:grpSpMkLst>
            <pc:docMk/>
            <pc:sldMk cId="2744971081" sldId="10226"/>
            <ac:grpSpMk id="65" creationId="{F294CE91-07C7-426F-B394-2D76C0214B25}"/>
          </ac:grpSpMkLst>
        </pc:grpChg>
        <pc:grpChg chg="add del mod">
          <ac:chgData name="Roman Abylkhatov" userId="2e959579-b379-4599-8299-cd2bab77a390" providerId="ADAL" clId="{3598FBA1-59ED-4C59-A5B4-1D6E8AA8E020}" dt="2021-02-25T14:12:24.933" v="2433"/>
          <ac:grpSpMkLst>
            <pc:docMk/>
            <pc:sldMk cId="2744971081" sldId="10226"/>
            <ac:grpSpMk id="68" creationId="{8D7242CB-70D6-4462-9C41-7B55EC827C42}"/>
          </ac:grpSpMkLst>
        </pc:grpChg>
        <pc:grpChg chg="mod">
          <ac:chgData name="Roman Abylkhatov" userId="2e959579-b379-4599-8299-cd2bab77a390" providerId="ADAL" clId="{3598FBA1-59ED-4C59-A5B4-1D6E8AA8E020}" dt="2021-02-25T14:12:24.006" v="2432"/>
          <ac:grpSpMkLst>
            <pc:docMk/>
            <pc:sldMk cId="2744971081" sldId="10226"/>
            <ac:grpSpMk id="70" creationId="{A05A4468-BE38-4EEE-93E6-C2283F06BF2B}"/>
          </ac:grpSpMkLst>
        </pc:grpChg>
        <pc:grpChg chg="add mod">
          <ac:chgData name="Roman Abylkhatov" userId="2e959579-b379-4599-8299-cd2bab77a390" providerId="ADAL" clId="{3598FBA1-59ED-4C59-A5B4-1D6E8AA8E020}" dt="2021-02-25T14:12:35.022" v="2434" actId="571"/>
          <ac:grpSpMkLst>
            <pc:docMk/>
            <pc:sldMk cId="2744971081" sldId="10226"/>
            <ac:grpSpMk id="73" creationId="{AEE11099-064A-431F-8AE0-CE84BAA66EA9}"/>
          </ac:grpSpMkLst>
        </pc:grpChg>
        <pc:grpChg chg="mod">
          <ac:chgData name="Roman Abylkhatov" userId="2e959579-b379-4599-8299-cd2bab77a390" providerId="ADAL" clId="{3598FBA1-59ED-4C59-A5B4-1D6E8AA8E020}" dt="2021-02-25T14:12:35.022" v="2434" actId="571"/>
          <ac:grpSpMkLst>
            <pc:docMk/>
            <pc:sldMk cId="2744971081" sldId="10226"/>
            <ac:grpSpMk id="75" creationId="{6122E3BF-6C82-477D-81D5-9765B2958484}"/>
          </ac:grpSpMkLst>
        </pc:grpChg>
        <pc:cxnChg chg="add mod">
          <ac:chgData name="Roman Abylkhatov" userId="2e959579-b379-4599-8299-cd2bab77a390" providerId="ADAL" clId="{3598FBA1-59ED-4C59-A5B4-1D6E8AA8E020}" dt="2021-02-04T14:40:22.183" v="1283" actId="14100"/>
          <ac:cxnSpMkLst>
            <pc:docMk/>
            <pc:sldMk cId="2744971081" sldId="10226"/>
            <ac:cxnSpMk id="28" creationId="{29C32889-46E6-46E1-BDDB-F4E1B89101CC}"/>
          </ac:cxnSpMkLst>
        </pc:cxnChg>
      </pc:sldChg>
      <pc:sldChg chg="modSp add mod">
        <pc:chgData name="Roman Abylkhatov" userId="2e959579-b379-4599-8299-cd2bab77a390" providerId="ADAL" clId="{3598FBA1-59ED-4C59-A5B4-1D6E8AA8E020}" dt="2021-03-23T14:26:59.310" v="3095" actId="313"/>
        <pc:sldMkLst>
          <pc:docMk/>
          <pc:sldMk cId="2351599916" sldId="10227"/>
        </pc:sldMkLst>
        <pc:spChg chg="mod">
          <ac:chgData name="Roman Abylkhatov" userId="2e959579-b379-4599-8299-cd2bab77a390" providerId="ADAL" clId="{3598FBA1-59ED-4C59-A5B4-1D6E8AA8E020}" dt="2021-03-23T14:26:59.310" v="3095" actId="313"/>
          <ac:spMkLst>
            <pc:docMk/>
            <pc:sldMk cId="2351599916" sldId="10227"/>
            <ac:spMk id="4" creationId="{AD877597-C58A-4F11-971F-738C8C342DDF}"/>
          </ac:spMkLst>
        </pc:spChg>
      </pc:sldChg>
      <pc:sldChg chg="add del">
        <pc:chgData name="Roman Abylkhatov" userId="2e959579-b379-4599-8299-cd2bab77a390" providerId="ADAL" clId="{3598FBA1-59ED-4C59-A5B4-1D6E8AA8E020}" dt="2021-03-23T14:26:37.088" v="3093" actId="47"/>
        <pc:sldMkLst>
          <pc:docMk/>
          <pc:sldMk cId="1536065476" sldId="10228"/>
        </pc:sldMkLst>
      </pc:sldChg>
      <pc:sldChg chg="new del">
        <pc:chgData name="Roman Abylkhatov" userId="2e959579-b379-4599-8299-cd2bab77a390" providerId="ADAL" clId="{3598FBA1-59ED-4C59-A5B4-1D6E8AA8E020}" dt="2021-02-25T14:15:10.981" v="2464" actId="680"/>
        <pc:sldMkLst>
          <pc:docMk/>
          <pc:sldMk cId="2154184960" sldId="10229"/>
        </pc:sldMkLst>
      </pc:sldChg>
      <pc:sldChg chg="addSp delSp modSp add mod ord">
        <pc:chgData name="Roman Abylkhatov" userId="2e959579-b379-4599-8299-cd2bab77a390" providerId="ADAL" clId="{3598FBA1-59ED-4C59-A5B4-1D6E8AA8E020}" dt="2021-02-25T14:32:21.261" v="3082" actId="1076"/>
        <pc:sldMkLst>
          <pc:docMk/>
          <pc:sldMk cId="3311876511" sldId="10229"/>
        </pc:sldMkLst>
        <pc:spChg chg="mod">
          <ac:chgData name="Roman Abylkhatov" userId="2e959579-b379-4599-8299-cd2bab77a390" providerId="ADAL" clId="{3598FBA1-59ED-4C59-A5B4-1D6E8AA8E020}" dt="2021-02-25T14:17:58.680" v="2560" actId="20577"/>
          <ac:spMkLst>
            <pc:docMk/>
            <pc:sldMk cId="3311876511" sldId="10229"/>
            <ac:spMk id="2" creationId="{CC40D7E0-D5FA-4A86-93CD-A73C19FDE61A}"/>
          </ac:spMkLst>
        </pc:spChg>
        <pc:spChg chg="mod">
          <ac:chgData name="Roman Abylkhatov" userId="2e959579-b379-4599-8299-cd2bab77a390" providerId="ADAL" clId="{3598FBA1-59ED-4C59-A5B4-1D6E8AA8E020}" dt="2021-02-25T14:25:16.985" v="2975" actId="20577"/>
          <ac:spMkLst>
            <pc:docMk/>
            <pc:sldMk cId="3311876511" sldId="10229"/>
            <ac:spMk id="5" creationId="{DCACA0F7-D8FB-43C8-8DDC-B70EB0228F25}"/>
          </ac:spMkLst>
        </pc:spChg>
        <pc:spChg chg="mod">
          <ac:chgData name="Roman Abylkhatov" userId="2e959579-b379-4599-8299-cd2bab77a390" providerId="ADAL" clId="{3598FBA1-59ED-4C59-A5B4-1D6E8AA8E020}" dt="2021-02-25T14:28:00.441" v="2982"/>
          <ac:spMkLst>
            <pc:docMk/>
            <pc:sldMk cId="3311876511" sldId="10229"/>
            <ac:spMk id="15" creationId="{CBDE199F-738C-48F9-B2A1-07D56F822D7E}"/>
          </ac:spMkLst>
        </pc:spChg>
        <pc:spChg chg="mod">
          <ac:chgData name="Roman Abylkhatov" userId="2e959579-b379-4599-8299-cd2bab77a390" providerId="ADAL" clId="{3598FBA1-59ED-4C59-A5B4-1D6E8AA8E020}" dt="2021-02-25T14:28:38.652" v="2985"/>
          <ac:spMkLst>
            <pc:docMk/>
            <pc:sldMk cId="3311876511" sldId="10229"/>
            <ac:spMk id="20" creationId="{A76BCD27-A91E-41A2-9AE0-9E606EDC08EC}"/>
          </ac:spMkLst>
        </pc:spChg>
        <pc:spChg chg="mod">
          <ac:chgData name="Roman Abylkhatov" userId="2e959579-b379-4599-8299-cd2bab77a390" providerId="ADAL" clId="{3598FBA1-59ED-4C59-A5B4-1D6E8AA8E020}" dt="2021-02-25T14:18:08.517" v="2598" actId="20577"/>
          <ac:spMkLst>
            <pc:docMk/>
            <pc:sldMk cId="3311876511" sldId="10229"/>
            <ac:spMk id="26" creationId="{663C5757-1699-4EEC-B106-3EDCEBC77B60}"/>
          </ac:spMkLst>
        </pc:spChg>
        <pc:spChg chg="mod">
          <ac:chgData name="Roman Abylkhatov" userId="2e959579-b379-4599-8299-cd2bab77a390" providerId="ADAL" clId="{3598FBA1-59ED-4C59-A5B4-1D6E8AA8E020}" dt="2021-02-25T14:32:21.261" v="3082" actId="1076"/>
          <ac:spMkLst>
            <pc:docMk/>
            <pc:sldMk cId="3311876511" sldId="10229"/>
            <ac:spMk id="35" creationId="{7BB15BB9-4E62-4708-A508-3757EEEFF5D2}"/>
          </ac:spMkLst>
        </pc:spChg>
        <pc:spChg chg="mod">
          <ac:chgData name="Roman Abylkhatov" userId="2e959579-b379-4599-8299-cd2bab77a390" providerId="ADAL" clId="{3598FBA1-59ED-4C59-A5B4-1D6E8AA8E020}" dt="2021-02-25T14:29:08.832" v="3010" actId="20577"/>
          <ac:spMkLst>
            <pc:docMk/>
            <pc:sldMk cId="3311876511" sldId="10229"/>
            <ac:spMk id="39" creationId="{E5320018-A66E-49D1-8E50-32D3EBB61CB8}"/>
          </ac:spMkLst>
        </pc:spChg>
        <pc:spChg chg="mod">
          <ac:chgData name="Roman Abylkhatov" userId="2e959579-b379-4599-8299-cd2bab77a390" providerId="ADAL" clId="{3598FBA1-59ED-4C59-A5B4-1D6E8AA8E020}" dt="2021-02-25T14:20:05.045" v="2609" actId="6549"/>
          <ac:spMkLst>
            <pc:docMk/>
            <pc:sldMk cId="3311876511" sldId="10229"/>
            <ac:spMk id="44" creationId="{5E860710-747A-4001-8935-A914C88E7E60}"/>
          </ac:spMkLst>
        </pc:spChg>
        <pc:spChg chg="mod">
          <ac:chgData name="Roman Abylkhatov" userId="2e959579-b379-4599-8299-cd2bab77a390" providerId="ADAL" clId="{3598FBA1-59ED-4C59-A5B4-1D6E8AA8E020}" dt="2021-02-25T14:30:29.580" v="3039" actId="571"/>
          <ac:spMkLst>
            <pc:docMk/>
            <pc:sldMk cId="3311876511" sldId="10229"/>
            <ac:spMk id="49" creationId="{40ED6E64-A842-4DD2-9374-2334D10972C2}"/>
          </ac:spMkLst>
        </pc:spChg>
        <pc:spChg chg="mod">
          <ac:chgData name="Roman Abylkhatov" userId="2e959579-b379-4599-8299-cd2bab77a390" providerId="ADAL" clId="{3598FBA1-59ED-4C59-A5B4-1D6E8AA8E020}" dt="2021-02-25T14:30:29.580" v="3039" actId="571"/>
          <ac:spMkLst>
            <pc:docMk/>
            <pc:sldMk cId="3311876511" sldId="10229"/>
            <ac:spMk id="51" creationId="{7EA13AFA-87D5-4789-884C-289ECC39D9FC}"/>
          </ac:spMkLst>
        </pc:spChg>
        <pc:spChg chg="mod">
          <ac:chgData name="Roman Abylkhatov" userId="2e959579-b379-4599-8299-cd2bab77a390" providerId="ADAL" clId="{3598FBA1-59ED-4C59-A5B4-1D6E8AA8E020}" dt="2021-02-25T14:30:29.580" v="3039" actId="571"/>
          <ac:spMkLst>
            <pc:docMk/>
            <pc:sldMk cId="3311876511" sldId="10229"/>
            <ac:spMk id="52" creationId="{2C33448C-5EAC-4949-860C-DEDB991D4812}"/>
          </ac:spMkLst>
        </pc:spChg>
        <pc:spChg chg="mod">
          <ac:chgData name="Roman Abylkhatov" userId="2e959579-b379-4599-8299-cd2bab77a390" providerId="ADAL" clId="{3598FBA1-59ED-4C59-A5B4-1D6E8AA8E020}" dt="2021-02-25T14:30:29.580" v="3039" actId="571"/>
          <ac:spMkLst>
            <pc:docMk/>
            <pc:sldMk cId="3311876511" sldId="10229"/>
            <ac:spMk id="54" creationId="{82AFD60F-80FA-4987-BD93-2A6EAB2D9DF3}"/>
          </ac:spMkLst>
        </pc:spChg>
        <pc:spChg chg="mod">
          <ac:chgData name="Roman Abylkhatov" userId="2e959579-b379-4599-8299-cd2bab77a390" providerId="ADAL" clId="{3598FBA1-59ED-4C59-A5B4-1D6E8AA8E020}" dt="2021-02-25T14:30:29.580" v="3039" actId="571"/>
          <ac:spMkLst>
            <pc:docMk/>
            <pc:sldMk cId="3311876511" sldId="10229"/>
            <ac:spMk id="56" creationId="{8B396F9D-5152-4B32-A59C-02C1FA2BAFF5}"/>
          </ac:spMkLst>
        </pc:spChg>
        <pc:spChg chg="mod">
          <ac:chgData name="Roman Abylkhatov" userId="2e959579-b379-4599-8299-cd2bab77a390" providerId="ADAL" clId="{3598FBA1-59ED-4C59-A5B4-1D6E8AA8E020}" dt="2021-02-25T14:30:29.580" v="3039" actId="571"/>
          <ac:spMkLst>
            <pc:docMk/>
            <pc:sldMk cId="3311876511" sldId="10229"/>
            <ac:spMk id="57" creationId="{F9497B12-A641-4E76-909C-2436CBBC730F}"/>
          </ac:spMkLst>
        </pc:spChg>
        <pc:spChg chg="mod">
          <ac:chgData name="Roman Abylkhatov" userId="2e959579-b379-4599-8299-cd2bab77a390" providerId="ADAL" clId="{3598FBA1-59ED-4C59-A5B4-1D6E8AA8E020}" dt="2021-02-25T14:31:11.541" v="3077" actId="20577"/>
          <ac:spMkLst>
            <pc:docMk/>
            <pc:sldMk cId="3311876511" sldId="10229"/>
            <ac:spMk id="74" creationId="{D6DB623E-5BE1-4E5F-B54F-B6C5E9272ED0}"/>
          </ac:spMkLst>
        </pc:spChg>
        <pc:grpChg chg="del mod">
          <ac:chgData name="Roman Abylkhatov" userId="2e959579-b379-4599-8299-cd2bab77a390" providerId="ADAL" clId="{3598FBA1-59ED-4C59-A5B4-1D6E8AA8E020}" dt="2021-02-25T14:30:11.799" v="3017" actId="478"/>
          <ac:grpSpMkLst>
            <pc:docMk/>
            <pc:sldMk cId="3311876511" sldId="10229"/>
            <ac:grpSpMk id="4" creationId="{2198C0BB-9516-4B5C-9E68-C156240CC915}"/>
          </ac:grpSpMkLst>
        </pc:grpChg>
        <pc:grpChg chg="mod">
          <ac:chgData name="Roman Abylkhatov" userId="2e959579-b379-4599-8299-cd2bab77a390" providerId="ADAL" clId="{3598FBA1-59ED-4C59-A5B4-1D6E8AA8E020}" dt="2021-02-25T14:31:04.023" v="3076" actId="1036"/>
          <ac:grpSpMkLst>
            <pc:docMk/>
            <pc:sldMk cId="3311876511" sldId="10229"/>
            <ac:grpSpMk id="14" creationId="{539AA6D0-2D2F-465A-8422-94D5CAB8CD89}"/>
          </ac:grpSpMkLst>
        </pc:grpChg>
        <pc:grpChg chg="mod">
          <ac:chgData name="Roman Abylkhatov" userId="2e959579-b379-4599-8299-cd2bab77a390" providerId="ADAL" clId="{3598FBA1-59ED-4C59-A5B4-1D6E8AA8E020}" dt="2021-02-25T14:31:04.023" v="3076" actId="1036"/>
          <ac:grpSpMkLst>
            <pc:docMk/>
            <pc:sldMk cId="3311876511" sldId="10229"/>
            <ac:grpSpMk id="19" creationId="{72EB8C5C-B697-4A72-B004-8BB13B09543F}"/>
          </ac:grpSpMkLst>
        </pc:grpChg>
        <pc:grpChg chg="mod">
          <ac:chgData name="Roman Abylkhatov" userId="2e959579-b379-4599-8299-cd2bab77a390" providerId="ADAL" clId="{3598FBA1-59ED-4C59-A5B4-1D6E8AA8E020}" dt="2021-02-25T14:32:09.706" v="3080" actId="1076"/>
          <ac:grpSpMkLst>
            <pc:docMk/>
            <pc:sldMk cId="3311876511" sldId="10229"/>
            <ac:grpSpMk id="29" creationId="{8D250A39-0E81-43A6-AC4D-FC3740A5595A}"/>
          </ac:grpSpMkLst>
        </pc:grpChg>
        <pc:grpChg chg="mod">
          <ac:chgData name="Roman Abylkhatov" userId="2e959579-b379-4599-8299-cd2bab77a390" providerId="ADAL" clId="{3598FBA1-59ED-4C59-A5B4-1D6E8AA8E020}" dt="2021-02-25T14:31:04.023" v="3076" actId="1036"/>
          <ac:grpSpMkLst>
            <pc:docMk/>
            <pc:sldMk cId="3311876511" sldId="10229"/>
            <ac:grpSpMk id="38" creationId="{A18C31A7-AD4B-4BE1-8AC5-ADCFF446E1DA}"/>
          </ac:grpSpMkLst>
        </pc:grpChg>
        <pc:grpChg chg="del">
          <ac:chgData name="Roman Abylkhatov" userId="2e959579-b379-4599-8299-cd2bab77a390" providerId="ADAL" clId="{3598FBA1-59ED-4C59-A5B4-1D6E8AA8E020}" dt="2021-02-25T14:29:05.569" v="3009" actId="478"/>
          <ac:grpSpMkLst>
            <pc:docMk/>
            <pc:sldMk cId="3311876511" sldId="10229"/>
            <ac:grpSpMk id="43" creationId="{97466D78-8CAC-4A75-8E32-811CF67024FD}"/>
          </ac:grpSpMkLst>
        </pc:grpChg>
        <pc:grpChg chg="add mod">
          <ac:chgData name="Roman Abylkhatov" userId="2e959579-b379-4599-8299-cd2bab77a390" providerId="ADAL" clId="{3598FBA1-59ED-4C59-A5B4-1D6E8AA8E020}" dt="2021-02-25T14:30:29.580" v="3039" actId="571"/>
          <ac:grpSpMkLst>
            <pc:docMk/>
            <pc:sldMk cId="3311876511" sldId="10229"/>
            <ac:grpSpMk id="48" creationId="{B2A77C6B-36FF-4C70-BB2D-3A2913D67CC9}"/>
          </ac:grpSpMkLst>
        </pc:grpChg>
        <pc:grpChg chg="mod">
          <ac:chgData name="Roman Abylkhatov" userId="2e959579-b379-4599-8299-cd2bab77a390" providerId="ADAL" clId="{3598FBA1-59ED-4C59-A5B4-1D6E8AA8E020}" dt="2021-02-25T14:30:29.580" v="3039" actId="571"/>
          <ac:grpSpMkLst>
            <pc:docMk/>
            <pc:sldMk cId="3311876511" sldId="10229"/>
            <ac:grpSpMk id="50" creationId="{4720C498-4A29-40BF-AEAB-131B19B42DF0}"/>
          </ac:grpSpMkLst>
        </pc:grpChg>
        <pc:grpChg chg="add mod">
          <ac:chgData name="Roman Abylkhatov" userId="2e959579-b379-4599-8299-cd2bab77a390" providerId="ADAL" clId="{3598FBA1-59ED-4C59-A5B4-1D6E8AA8E020}" dt="2021-02-25T14:30:29.580" v="3039" actId="571"/>
          <ac:grpSpMkLst>
            <pc:docMk/>
            <pc:sldMk cId="3311876511" sldId="10229"/>
            <ac:grpSpMk id="53" creationId="{CE2E6E32-4F18-49EA-89BF-BE6024A6704D}"/>
          </ac:grpSpMkLst>
        </pc:grpChg>
        <pc:grpChg chg="mod">
          <ac:chgData name="Roman Abylkhatov" userId="2e959579-b379-4599-8299-cd2bab77a390" providerId="ADAL" clId="{3598FBA1-59ED-4C59-A5B4-1D6E8AA8E020}" dt="2021-02-25T14:30:29.580" v="3039" actId="571"/>
          <ac:grpSpMkLst>
            <pc:docMk/>
            <pc:sldMk cId="3311876511" sldId="10229"/>
            <ac:grpSpMk id="55" creationId="{9AF2E1BA-1ABE-4E6C-9974-FACEF6722D18}"/>
          </ac:grpSpMkLst>
        </pc:grpChg>
        <pc:grpChg chg="mod">
          <ac:chgData name="Roman Abylkhatov" userId="2e959579-b379-4599-8299-cd2bab77a390" providerId="ADAL" clId="{3598FBA1-59ED-4C59-A5B4-1D6E8AA8E020}" dt="2021-02-25T14:31:04.023" v="3076" actId="1036"/>
          <ac:grpSpMkLst>
            <pc:docMk/>
            <pc:sldMk cId="3311876511" sldId="10229"/>
            <ac:grpSpMk id="73" creationId="{AEE11099-064A-431F-8AE0-CE84BAA66EA9}"/>
          </ac:grpSpMkLst>
        </pc:grpChg>
      </pc:sldChg>
      <pc:sldChg chg="modSp add mod ord">
        <pc:chgData name="Roman Abylkhatov" userId="2e959579-b379-4599-8299-cd2bab77a390" providerId="ADAL" clId="{3598FBA1-59ED-4C59-A5B4-1D6E8AA8E020}" dt="2021-03-23T14:26:54.973" v="3094" actId="313"/>
        <pc:sldMkLst>
          <pc:docMk/>
          <pc:sldMk cId="1545164424" sldId="10230"/>
        </pc:sldMkLst>
        <pc:spChg chg="mod">
          <ac:chgData name="Roman Abylkhatov" userId="2e959579-b379-4599-8299-cd2bab77a390" providerId="ADAL" clId="{3598FBA1-59ED-4C59-A5B4-1D6E8AA8E020}" dt="2021-03-23T14:26:54.973" v="3094" actId="313"/>
          <ac:spMkLst>
            <pc:docMk/>
            <pc:sldMk cId="1545164424" sldId="10230"/>
            <ac:spMk id="4" creationId="{AD877597-C58A-4F11-971F-738C8C342DDF}"/>
          </ac:spMkLst>
        </pc:spChg>
      </pc:sldChg>
    </pc:docChg>
  </pc:docChgLst>
  <pc:docChgLst>
    <pc:chgData name="Reed Wolfe" userId="S::reedw@microsoft.com::d05f6079-100b-4fbc-abf2-3407048ef9c5" providerId="AD" clId="Web-{A69664A0-636C-B506-DCB5-C20D577D6778}"/>
    <pc:docChg chg="modSld">
      <pc:chgData name="Reed Wolfe" userId="S::reedw@microsoft.com::d05f6079-100b-4fbc-abf2-3407048ef9c5" providerId="AD" clId="Web-{A69664A0-636C-B506-DCB5-C20D577D6778}" dt="2021-03-23T14:26:38.311" v="161" actId="20577"/>
      <pc:docMkLst>
        <pc:docMk/>
      </pc:docMkLst>
      <pc:sldChg chg="addSp modSp">
        <pc:chgData name="Reed Wolfe" userId="S::reedw@microsoft.com::d05f6079-100b-4fbc-abf2-3407048ef9c5" providerId="AD" clId="Web-{A69664A0-636C-B506-DCB5-C20D577D6778}" dt="2021-03-23T14:25:12.499" v="151" actId="1076"/>
        <pc:sldMkLst>
          <pc:docMk/>
          <pc:sldMk cId="2345068032" sldId="1786"/>
        </pc:sldMkLst>
        <pc:spChg chg="add mod">
          <ac:chgData name="Reed Wolfe" userId="S::reedw@microsoft.com::d05f6079-100b-4fbc-abf2-3407048ef9c5" providerId="AD" clId="Web-{A69664A0-636C-B506-DCB5-C20D577D6778}" dt="2021-03-23T14:25:12.499" v="151" actId="1076"/>
          <ac:spMkLst>
            <pc:docMk/>
            <pc:sldMk cId="2345068032" sldId="1786"/>
            <ac:spMk id="5" creationId="{DE90AA16-4FC3-4506-836C-0A36A9087C41}"/>
          </ac:spMkLst>
        </pc:spChg>
        <pc:spChg chg="mod">
          <ac:chgData name="Reed Wolfe" userId="S::reedw@microsoft.com::d05f6079-100b-4fbc-abf2-3407048ef9c5" providerId="AD" clId="Web-{A69664A0-636C-B506-DCB5-C20D577D6778}" dt="2021-03-23T14:23:32.156" v="46" actId="20577"/>
          <ac:spMkLst>
            <pc:docMk/>
            <pc:sldMk cId="2345068032" sldId="1786"/>
            <ac:spMk id="9" creationId="{5F10B7DA-EBAD-49D8-8636-A3336D68F659}"/>
          </ac:spMkLst>
        </pc:spChg>
        <pc:graphicFrameChg chg="mod modGraphic">
          <ac:chgData name="Reed Wolfe" userId="S::reedw@microsoft.com::d05f6079-100b-4fbc-abf2-3407048ef9c5" providerId="AD" clId="Web-{A69664A0-636C-B506-DCB5-C20D577D6778}" dt="2021-03-23T14:24:02.312" v="138"/>
          <ac:graphicFrameMkLst>
            <pc:docMk/>
            <pc:sldMk cId="2345068032" sldId="1786"/>
            <ac:graphicFrameMk id="4" creationId="{9E04F86D-C834-4ACE-86A6-012EE8D90DEB}"/>
          </ac:graphicFrameMkLst>
        </pc:graphicFrameChg>
      </pc:sldChg>
      <pc:sldChg chg="modSp">
        <pc:chgData name="Reed Wolfe" userId="S::reedw@microsoft.com::d05f6079-100b-4fbc-abf2-3407048ef9c5" providerId="AD" clId="Web-{A69664A0-636C-B506-DCB5-C20D577D6778}" dt="2021-03-23T14:25:45.170" v="155" actId="20577"/>
        <pc:sldMkLst>
          <pc:docMk/>
          <pc:sldMk cId="855631851" sldId="1796"/>
        </pc:sldMkLst>
        <pc:spChg chg="mod">
          <ac:chgData name="Reed Wolfe" userId="S::reedw@microsoft.com::d05f6079-100b-4fbc-abf2-3407048ef9c5" providerId="AD" clId="Web-{A69664A0-636C-B506-DCB5-C20D577D6778}" dt="2021-03-23T14:25:45.170" v="155" actId="20577"/>
          <ac:spMkLst>
            <pc:docMk/>
            <pc:sldMk cId="855631851" sldId="1796"/>
            <ac:spMk id="9" creationId="{7BCE2C40-90DB-4FC2-953D-507B8E0183F5}"/>
          </ac:spMkLst>
        </pc:spChg>
      </pc:sldChg>
      <pc:sldChg chg="modSp">
        <pc:chgData name="Reed Wolfe" userId="S::reedw@microsoft.com::d05f6079-100b-4fbc-abf2-3407048ef9c5" providerId="AD" clId="Web-{A69664A0-636C-B506-DCB5-C20D577D6778}" dt="2021-03-23T14:25:50.061" v="156" actId="20577"/>
        <pc:sldMkLst>
          <pc:docMk/>
          <pc:sldMk cId="2633977528" sldId="1798"/>
        </pc:sldMkLst>
        <pc:spChg chg="mod">
          <ac:chgData name="Reed Wolfe" userId="S::reedw@microsoft.com::d05f6079-100b-4fbc-abf2-3407048ef9c5" providerId="AD" clId="Web-{A69664A0-636C-B506-DCB5-C20D577D6778}" dt="2021-03-23T14:25:50.061" v="156" actId="20577"/>
          <ac:spMkLst>
            <pc:docMk/>
            <pc:sldMk cId="2633977528" sldId="1798"/>
            <ac:spMk id="9" creationId="{87A46D8A-4DC1-4337-8C6F-46DCD83BAF11}"/>
          </ac:spMkLst>
        </pc:spChg>
      </pc:sldChg>
      <pc:sldChg chg="modSp">
        <pc:chgData name="Reed Wolfe" userId="S::reedw@microsoft.com::d05f6079-100b-4fbc-abf2-3407048ef9c5" providerId="AD" clId="Web-{A69664A0-636C-B506-DCB5-C20D577D6778}" dt="2021-03-23T14:25:22.249" v="152" actId="20577"/>
        <pc:sldMkLst>
          <pc:docMk/>
          <pc:sldMk cId="856216650" sldId="10223"/>
        </pc:sldMkLst>
        <pc:spChg chg="mod">
          <ac:chgData name="Reed Wolfe" userId="S::reedw@microsoft.com::d05f6079-100b-4fbc-abf2-3407048ef9c5" providerId="AD" clId="Web-{A69664A0-636C-B506-DCB5-C20D577D6778}" dt="2021-03-23T14:25:22.249" v="152" actId="20577"/>
          <ac:spMkLst>
            <pc:docMk/>
            <pc:sldMk cId="856216650" sldId="10223"/>
            <ac:spMk id="52" creationId="{F23E2C28-CB8E-4744-9410-C2E970FCFB05}"/>
          </ac:spMkLst>
        </pc:spChg>
      </pc:sldChg>
      <pc:sldChg chg="modSp">
        <pc:chgData name="Reed Wolfe" userId="S::reedw@microsoft.com::d05f6079-100b-4fbc-abf2-3407048ef9c5" providerId="AD" clId="Web-{A69664A0-636C-B506-DCB5-C20D577D6778}" dt="2021-03-23T14:26:38.311" v="161" actId="20577"/>
        <pc:sldMkLst>
          <pc:docMk/>
          <pc:sldMk cId="2351599916" sldId="10227"/>
        </pc:sldMkLst>
        <pc:spChg chg="mod">
          <ac:chgData name="Reed Wolfe" userId="S::reedw@microsoft.com::d05f6079-100b-4fbc-abf2-3407048ef9c5" providerId="AD" clId="Web-{A69664A0-636C-B506-DCB5-C20D577D6778}" dt="2021-03-23T14:26:20.592" v="157" actId="20577"/>
          <ac:spMkLst>
            <pc:docMk/>
            <pc:sldMk cId="2351599916" sldId="10227"/>
            <ac:spMk id="2" creationId="{45010FE8-BF09-4146-B084-66CB05B66FD9}"/>
          </ac:spMkLst>
        </pc:spChg>
        <pc:spChg chg="mod">
          <ac:chgData name="Reed Wolfe" userId="S::reedw@microsoft.com::d05f6079-100b-4fbc-abf2-3407048ef9c5" providerId="AD" clId="Web-{A69664A0-636C-B506-DCB5-C20D577D6778}" dt="2021-03-23T14:26:25.639" v="158" actId="20577"/>
          <ac:spMkLst>
            <pc:docMk/>
            <pc:sldMk cId="2351599916" sldId="10227"/>
            <ac:spMk id="3" creationId="{4227308A-4FE9-4C05-BB5D-16C9B8CF8C09}"/>
          </ac:spMkLst>
        </pc:spChg>
        <pc:spChg chg="mod">
          <ac:chgData name="Reed Wolfe" userId="S::reedw@microsoft.com::d05f6079-100b-4fbc-abf2-3407048ef9c5" providerId="AD" clId="Web-{A69664A0-636C-B506-DCB5-C20D577D6778}" dt="2021-03-23T14:26:35.748" v="160" actId="20577"/>
          <ac:spMkLst>
            <pc:docMk/>
            <pc:sldMk cId="2351599916" sldId="10227"/>
            <ac:spMk id="4" creationId="{AD877597-C58A-4F11-971F-738C8C342DDF}"/>
          </ac:spMkLst>
        </pc:spChg>
        <pc:spChg chg="mod">
          <ac:chgData name="Reed Wolfe" userId="S::reedw@microsoft.com::d05f6079-100b-4fbc-abf2-3407048ef9c5" providerId="AD" clId="Web-{A69664A0-636C-B506-DCB5-C20D577D6778}" dt="2021-03-23T14:26:38.311" v="161" actId="20577"/>
          <ac:spMkLst>
            <pc:docMk/>
            <pc:sldMk cId="2351599916" sldId="10227"/>
            <ac:spMk id="15" creationId="{4D635081-5C14-4453-98A4-27FF3E58A236}"/>
          </ac:spMkLst>
        </pc:spChg>
        <pc:spChg chg="mod">
          <ac:chgData name="Reed Wolfe" userId="S::reedw@microsoft.com::d05f6079-100b-4fbc-abf2-3407048ef9c5" providerId="AD" clId="Web-{A69664A0-636C-B506-DCB5-C20D577D6778}" dt="2021-03-23T14:26:30.905" v="159" actId="20577"/>
          <ac:spMkLst>
            <pc:docMk/>
            <pc:sldMk cId="2351599916" sldId="10227"/>
            <ac:spMk id="46" creationId="{423E3344-0D3E-40C6-A30D-D9146C16FFD2}"/>
          </ac:spMkLst>
        </pc:spChg>
        <pc:spChg chg="mod">
          <ac:chgData name="Reed Wolfe" userId="S::reedw@microsoft.com::d05f6079-100b-4fbc-abf2-3407048ef9c5" providerId="AD" clId="Web-{A69664A0-636C-B506-DCB5-C20D577D6778}" dt="2021-03-23T14:25:37.639" v="153" actId="20577"/>
          <ac:spMkLst>
            <pc:docMk/>
            <pc:sldMk cId="2351599916" sldId="10227"/>
            <ac:spMk id="52" creationId="{F23E2C28-CB8E-4744-9410-C2E970FCFB05}"/>
          </ac:spMkLst>
        </pc:spChg>
      </pc:sldChg>
      <pc:sldChg chg="modSp">
        <pc:chgData name="Reed Wolfe" userId="S::reedw@microsoft.com::d05f6079-100b-4fbc-abf2-3407048ef9c5" providerId="AD" clId="Web-{A69664A0-636C-B506-DCB5-C20D577D6778}" dt="2021-03-23T14:25:42.592" v="154" actId="20577"/>
        <pc:sldMkLst>
          <pc:docMk/>
          <pc:sldMk cId="1536065476" sldId="10228"/>
        </pc:sldMkLst>
        <pc:spChg chg="mod">
          <ac:chgData name="Reed Wolfe" userId="S::reedw@microsoft.com::d05f6079-100b-4fbc-abf2-3407048ef9c5" providerId="AD" clId="Web-{A69664A0-636C-B506-DCB5-C20D577D6778}" dt="2021-03-23T14:25:42.592" v="154" actId="20577"/>
          <ac:spMkLst>
            <pc:docMk/>
            <pc:sldMk cId="1536065476" sldId="10228"/>
            <ac:spMk id="52" creationId="{F23E2C28-CB8E-4744-9410-C2E970FCFB05}"/>
          </ac:spMkLst>
        </pc:sp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22EC9A59-2D54-4EB5-A21F-8B0704F6F44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161193E-CD2D-4EBD-BB6B-DAF2B64F917D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081934B-9E7B-47BD-9E11-CD9D0B990116}" type="datetimeFigureOut">
              <a:rPr lang="en-US" smtClean="0"/>
              <a:t>8/24/2021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85FB0A6-1F75-44FD-8F68-A2AAA1D59D5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25F2C96-14CF-48ED-BA80-70B9F297D56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0808807-CD91-4D83-9199-4BCB992AB27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1096070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45AA970-998E-44B5-A973-040C3B8B3432}" type="datetimeFigureOut">
              <a:rPr lang="en-US" smtClean="0"/>
              <a:t>8/24/2021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966B356-2F22-40D0-A92B-C8127227BBA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2738577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31467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2014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4F0E8ADD-5317-4C14-B1BC-530D7C569EEA}" type="datetime8">
              <a:rPr lang="en-US" smtClean="0"/>
              <a:t>8/24/2021 12:22 PM</a:t>
            </a:fld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5362754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PT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20133BD-6629-D245-9461-799999F1C98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79444704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571500" marR="0" lvl="0" indent="0" algn="l" defTabSz="914099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2014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pPr marL="0" marR="0" lvl="0" indent="0" algn="r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F0E8ADD-5317-4C14-B1BC-530D7C569EEA}" type="datetime8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327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/24/2021 12:22 PM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marR="0" lvl="0" indent="0" algn="r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327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737830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20133BD-6629-D245-9461-799999F1C98F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5691513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/>
              <a:t>For the documents and diagrams listed, please feel free to add additional slides,  attach documents directly to this template or email to your FastTrack Solution Architect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66B356-2F22-40D0-A92B-C8127227BBA1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4443531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For the documents and diagrams listed, please feel free to add additional slides,  attach documents directly to this template or email to your FastTrack Solution Architect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66B356-2F22-40D0-A92B-C8127227BBA1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7359032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20133BD-6629-D245-9461-799999F1C98F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78300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1">
                <a:solidFill>
                  <a:schemeClr val="tx1"/>
                </a:solidFill>
                <a:cs typeface="Segoe UI"/>
              </a:rPr>
              <a:t>Note: </a:t>
            </a:r>
            <a:r>
              <a:rPr lang="en-US" sz="1200">
                <a:solidFill>
                  <a:schemeClr val="tx1"/>
                </a:solidFill>
                <a:cs typeface="Segoe UI"/>
              </a:rPr>
              <a:t>please duplicate the slide for each Gap in the list</a:t>
            </a:r>
          </a:p>
          <a:p>
            <a:endParaRPr lang="pt-PT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20133BD-6629-D245-9461-799999F1C98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7531677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1">
                <a:solidFill>
                  <a:schemeClr val="tx1"/>
                </a:solidFill>
                <a:cs typeface="Segoe UI"/>
              </a:rPr>
              <a:t>Note: </a:t>
            </a:r>
            <a:r>
              <a:rPr lang="en-US" sz="1200">
                <a:solidFill>
                  <a:schemeClr val="tx1"/>
                </a:solidFill>
                <a:cs typeface="Segoe UI"/>
              </a:rPr>
              <a:t>please duplicate the slide for each Gap in the list</a:t>
            </a:r>
          </a:p>
          <a:p>
            <a:endParaRPr lang="pt-PT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20133BD-6629-D245-9461-799999F1C98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191524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1">
                <a:solidFill>
                  <a:schemeClr val="tx1"/>
                </a:solidFill>
                <a:cs typeface="Segoe UI"/>
              </a:rPr>
              <a:t>Note: </a:t>
            </a:r>
            <a:r>
              <a:rPr lang="en-US" sz="1200">
                <a:solidFill>
                  <a:schemeClr val="tx1"/>
                </a:solidFill>
                <a:cs typeface="Segoe UI"/>
              </a:rPr>
              <a:t>please duplicate the slide for each Gap in the list</a:t>
            </a:r>
          </a:p>
          <a:p>
            <a:endParaRPr lang="pt-PT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20133BD-6629-D245-9461-799999F1C98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2190669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PT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20133BD-6629-D245-9461-799999F1C98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8201700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sv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.bin"/><Relationship Id="rId4" Type="http://schemas.openxmlformats.org/officeDocument/2006/relationships/image" Target="../media/image2.jpe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Title Slide Photo_Option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>
            <a:extLst>
              <a:ext uri="{FF2B5EF4-FFF2-40B4-BE49-F238E27FC236}">
                <a16:creationId xmlns:a16="http://schemas.microsoft.com/office/drawing/2014/main" id="{A0FF0466-D2C6-42B6-BDAC-48EF1862E53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/>
          <a:srcRect l="235" t="145" r="6865" b="21716"/>
          <a:stretch/>
        </p:blipFill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33780"/>
              <a:gd name="connsiteX1" fmla="*/ 12192000 w 12192000"/>
              <a:gd name="connsiteY1" fmla="*/ 0 h 6833780"/>
              <a:gd name="connsiteX2" fmla="*/ 12192000 w 12192000"/>
              <a:gd name="connsiteY2" fmla="*/ 6833780 h 6833780"/>
              <a:gd name="connsiteX3" fmla="*/ 0 w 12192000"/>
              <a:gd name="connsiteY3" fmla="*/ 6833780 h 68337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6833780">
                <a:moveTo>
                  <a:pt x="0" y="0"/>
                </a:moveTo>
                <a:lnTo>
                  <a:pt x="12192000" y="0"/>
                </a:lnTo>
                <a:lnTo>
                  <a:pt x="12192000" y="6833780"/>
                </a:lnTo>
                <a:lnTo>
                  <a:pt x="0" y="6833780"/>
                </a:lnTo>
                <a:close/>
              </a:path>
            </a:pathLst>
          </a:custGeom>
        </p:spPr>
      </p:pic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F29527B2-D526-4CEB-A7B6-E8A2DC1A678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943600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25" imgH="426" progId="TCLayout.ActiveDocument.1">
                  <p:embed/>
                </p:oleObj>
              </mc:Choice>
              <mc:Fallback>
                <p:oleObj name="think-cell Slide" r:id="rId5" imgW="425" imgH="42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F29527B2-D526-4CEB-A7B6-E8A2DC1A678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B6248D34-F62C-43CD-9EBC-A7D85B85CCAA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4800" b="0" i="0" baseline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Semibold" panose="020B0702040204020203" pitchFamily="34" charset="0"/>
              <a:ea typeface="+mn-ea"/>
              <a:cs typeface="Segoe UI" pitchFamily="34" charset="0"/>
              <a:sym typeface="Segoe UI Semibold" panose="020B0702040204020203" pitchFamily="34" charset="0"/>
            </a:endParaRPr>
          </a:p>
        </p:txBody>
      </p:sp>
      <p:pic>
        <p:nvPicPr>
          <p:cNvPr id="13" name="Graphic 12">
            <a:extLst>
              <a:ext uri="{FF2B5EF4-FFF2-40B4-BE49-F238E27FC236}">
                <a16:creationId xmlns:a16="http://schemas.microsoft.com/office/drawing/2014/main" id="{D925D7E7-2E5D-4A14-A0B0-6CBD592C2D71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-30956" y="-12699"/>
            <a:ext cx="5943600" cy="6870699"/>
          </a:xfrm>
          <a:prstGeom prst="rect">
            <a:avLst/>
          </a:prstGeom>
        </p:spPr>
      </p:pic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auto">
          <a:xfrm>
            <a:off x="269303" y="2077789"/>
            <a:ext cx="5825213" cy="1793104"/>
          </a:xfrm>
          <a:noFill/>
        </p:spPr>
        <p:txBody>
          <a:bodyPr lIns="146304" tIns="91440" rIns="146304" bIns="91440" anchor="t" anchorCtr="0"/>
          <a:lstStyle>
            <a:lvl1pPr>
              <a:defRPr sz="4800" spc="-98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 hasCustomPrompt="1"/>
          </p:nvPr>
        </p:nvSpPr>
        <p:spPr bwMode="auto">
          <a:xfrm>
            <a:off x="267683" y="3927231"/>
            <a:ext cx="5826717" cy="715107"/>
          </a:xfrm>
        </p:spPr>
        <p:txBody>
          <a:bodyPr tIns="109728" bIns="109728">
            <a:noAutofit/>
          </a:bodyPr>
          <a:lstStyle>
            <a:lvl1pPr marL="0" indent="0">
              <a:spcBef>
                <a:spcPts val="0"/>
              </a:spcBef>
              <a:buNone/>
              <a:defRPr sz="32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</p:spTree>
    <p:extLst>
      <p:ext uri="{BB962C8B-B14F-4D97-AF65-F5344CB8AC3E}">
        <p14:creationId xmlns:p14="http://schemas.microsoft.com/office/powerpoint/2010/main" val="12445799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algn="l" defTabSz="91419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000" b="0" kern="1200" cap="none" spc="-100" baseline="0" dirty="0">
                <a:ln w="3175">
                  <a:noFill/>
                </a:ln>
                <a:solidFill>
                  <a:schemeClr val="tx1">
                    <a:lumMod val="75000"/>
                  </a:schemeClr>
                </a:soli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8211543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6_Title with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4232573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pos="2045">
          <p15:clr>
            <a:srgbClr val="FBAE40"/>
          </p15:clr>
        </p15:guide>
        <p15:guide id="2" pos="5789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6A970083-3A71-48F6-9BD0-D3686BD2843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ctr"/>
          <a:lstStyle>
            <a:lvl1pPr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9AB5242A-416F-4F00-9C67-1EF1C6073DCE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267874" y="1838324"/>
            <a:ext cx="11655839" cy="4587875"/>
          </a:xfrm>
        </p:spPr>
        <p:txBody>
          <a:bodyPr/>
          <a:lstStyle>
            <a:lvl1pPr>
              <a:buSzPct val="100000"/>
              <a:defRPr sz="2000">
                <a:latin typeface="+mn-lt"/>
              </a:defRPr>
            </a:lvl1pPr>
            <a:lvl2pPr>
              <a:buSzPct val="70000"/>
              <a:buFont typeface="Courier New" panose="02070309020205020404" pitchFamily="49" charset="0"/>
              <a:buChar char="o"/>
              <a:defRPr sz="2000">
                <a:latin typeface="+mn-lt"/>
              </a:defRPr>
            </a:lvl2pPr>
            <a:lvl3pPr>
              <a:buSzPct val="60000"/>
              <a:buFont typeface="Wingdings" panose="05000000000000000000" pitchFamily="2" charset="2"/>
              <a:buChar char="§"/>
              <a:defRPr sz="2000">
                <a:latin typeface="+mn-lt"/>
              </a:defRPr>
            </a:lvl3pPr>
            <a:lvl4pPr>
              <a:buSzPct val="60000"/>
              <a:buFont typeface="Wingdings" panose="05000000000000000000" pitchFamily="2" charset="2"/>
              <a:buChar char="§"/>
              <a:defRPr sz="2000">
                <a:latin typeface="+mn-lt"/>
              </a:defRPr>
            </a:lvl4pPr>
            <a:lvl5pPr>
              <a:buSzPct val="60000"/>
              <a:buFont typeface="Wingdings" panose="05000000000000000000" pitchFamily="2" charset="2"/>
              <a:buChar char="§"/>
              <a:defRPr sz="20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FE10F35C-F5C7-474E-8739-D7BA8C2F7C9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69875" y="1189038"/>
            <a:ext cx="11652250" cy="461665"/>
          </a:xfrm>
        </p:spPr>
        <p:txBody>
          <a:bodyPr/>
          <a:lstStyle>
            <a:lvl1pPr marL="0" indent="0">
              <a:buFontTx/>
              <a:buNone/>
              <a:defRPr sz="2000">
                <a:solidFill>
                  <a:schemeClr val="accent1"/>
                </a:solidFill>
              </a:defRPr>
            </a:lvl1pPr>
            <a:lvl2pPr marL="336145" indent="0">
              <a:buFontTx/>
              <a:buNone/>
              <a:defRPr sz="2000"/>
            </a:lvl2pPr>
            <a:lvl3pPr marL="560241" indent="0">
              <a:buFontTx/>
              <a:buNone/>
              <a:defRPr sz="2000"/>
            </a:lvl3pPr>
            <a:lvl4pPr marL="784338" indent="0">
              <a:buFontTx/>
              <a:buNone/>
              <a:defRPr sz="2000"/>
            </a:lvl4pPr>
            <a:lvl5pPr marL="1008434" indent="0">
              <a:buFontTx/>
              <a:buNone/>
              <a:defRPr sz="2000"/>
            </a:lvl5pPr>
          </a:lstStyle>
          <a:p>
            <a:pPr lvl="0"/>
            <a:r>
              <a:rPr lang="en-US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3356996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png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69240" y="289511"/>
            <a:ext cx="11655840" cy="89966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69241" y="1189178"/>
            <a:ext cx="11653521" cy="2052030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24" name="Group 23">
            <a:extLst>
              <a:ext uri="{FF2B5EF4-FFF2-40B4-BE49-F238E27FC236}">
                <a16:creationId xmlns:a16="http://schemas.microsoft.com/office/drawing/2014/main" id="{6AD59570-D98B-4F7B-80B6-9471B2041BB8}"/>
              </a:ext>
            </a:extLst>
          </p:cNvPr>
          <p:cNvGrpSpPr/>
          <p:nvPr/>
        </p:nvGrpSpPr>
        <p:grpSpPr>
          <a:xfrm rot="5400000">
            <a:off x="10042168" y="2339070"/>
            <a:ext cx="5409049" cy="730911"/>
            <a:chOff x="3184538" y="0"/>
            <a:chExt cx="9389529" cy="1461567"/>
          </a:xfrm>
        </p:grpSpPr>
        <p:sp>
          <p:nvSpPr>
            <p:cNvPr id="25" name="Shape 4961">
              <a:extLst>
                <a:ext uri="{FF2B5EF4-FFF2-40B4-BE49-F238E27FC236}">
                  <a16:creationId xmlns:a16="http://schemas.microsoft.com/office/drawing/2014/main" id="{2E9321FE-8B80-4A65-A4F1-0A9A645DC267}"/>
                </a:ext>
              </a:extLst>
            </p:cNvPr>
            <p:cNvSpPr/>
            <p:nvPr userDrawn="1"/>
          </p:nvSpPr>
          <p:spPr>
            <a:xfrm>
              <a:off x="4189057" y="0"/>
              <a:ext cx="2006917" cy="881533"/>
            </a:xfrm>
            <a:custGeom>
              <a:avLst/>
              <a:gdLst/>
              <a:ahLst/>
              <a:cxnLst/>
              <a:rect l="0" t="0" r="0" b="0"/>
              <a:pathLst>
                <a:path w="2006917" h="881533">
                  <a:moveTo>
                    <a:pt x="0" y="881533"/>
                  </a:moveTo>
                  <a:lnTo>
                    <a:pt x="2006917" y="881533"/>
                  </a:lnTo>
                  <a:lnTo>
                    <a:pt x="2006917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 w="3175" cap="flat">
              <a:noFill/>
              <a:miter lim="100000"/>
            </a:ln>
          </p:spPr>
          <p:style>
            <a:lnRef idx="1">
              <a:srgbClr val="3C3C41"/>
            </a:lnRef>
            <a:fillRef idx="0">
              <a:srgbClr val="000000">
                <a:alpha val="0"/>
              </a:srgbClr>
            </a:fillRef>
            <a:effectRef idx="0">
              <a:scrgbClr r="0" g="0" b="0"/>
            </a:effectRef>
            <a:fontRef idx="none"/>
          </p:style>
          <p:txBody>
            <a:bodyPr/>
            <a:lstStyle/>
            <a:p>
              <a:endParaRPr lang="en-US"/>
            </a:p>
          </p:txBody>
        </p:sp>
        <p:sp>
          <p:nvSpPr>
            <p:cNvPr id="26" name="Shape 34744">
              <a:extLst>
                <a:ext uri="{FF2B5EF4-FFF2-40B4-BE49-F238E27FC236}">
                  <a16:creationId xmlns:a16="http://schemas.microsoft.com/office/drawing/2014/main" id="{2A233076-34B9-428C-BA8D-CDA63AA548EE}"/>
                </a:ext>
              </a:extLst>
            </p:cNvPr>
            <p:cNvSpPr/>
            <p:nvPr userDrawn="1"/>
          </p:nvSpPr>
          <p:spPr>
            <a:xfrm>
              <a:off x="7381545" y="0"/>
              <a:ext cx="2006918" cy="881533"/>
            </a:xfrm>
            <a:custGeom>
              <a:avLst/>
              <a:gdLst/>
              <a:ahLst/>
              <a:cxnLst/>
              <a:rect l="0" t="0" r="0" b="0"/>
              <a:pathLst>
                <a:path w="2006918" h="881533">
                  <a:moveTo>
                    <a:pt x="0" y="0"/>
                  </a:moveTo>
                  <a:lnTo>
                    <a:pt x="2006918" y="0"/>
                  </a:lnTo>
                  <a:lnTo>
                    <a:pt x="2006918" y="881533"/>
                  </a:lnTo>
                  <a:lnTo>
                    <a:pt x="0" y="881533"/>
                  </a:lnTo>
                  <a:lnTo>
                    <a:pt x="0" y="0"/>
                  </a:lnTo>
                </a:path>
              </a:pathLst>
            </a:custGeom>
            <a:ln w="0" cap="flat">
              <a:noFill/>
              <a:miter lim="100000"/>
            </a:ln>
          </p:spPr>
          <p:style>
            <a:lnRef idx="0">
              <a:srgbClr val="000000">
                <a:alpha val="0"/>
              </a:srgbClr>
            </a:lnRef>
            <a:fillRef idx="1">
              <a:srgbClr val="008272"/>
            </a:fillRef>
            <a:effectRef idx="0">
              <a:scrgbClr r="0" g="0" b="0"/>
            </a:effectRef>
            <a:fontRef idx="none"/>
          </p:style>
          <p:txBody>
            <a:bodyPr/>
            <a:lstStyle/>
            <a:p>
              <a:endParaRPr lang="en-US"/>
            </a:p>
          </p:txBody>
        </p:sp>
        <p:sp>
          <p:nvSpPr>
            <p:cNvPr id="27" name="Shape 34745">
              <a:extLst>
                <a:ext uri="{FF2B5EF4-FFF2-40B4-BE49-F238E27FC236}">
                  <a16:creationId xmlns:a16="http://schemas.microsoft.com/office/drawing/2014/main" id="{E534E280-234A-4D24-8D84-2EF3AE4ABD87}"/>
                </a:ext>
              </a:extLst>
            </p:cNvPr>
            <p:cNvSpPr/>
            <p:nvPr userDrawn="1"/>
          </p:nvSpPr>
          <p:spPr>
            <a:xfrm>
              <a:off x="10566082" y="0"/>
              <a:ext cx="2006918" cy="881533"/>
            </a:xfrm>
            <a:custGeom>
              <a:avLst/>
              <a:gdLst/>
              <a:ahLst/>
              <a:cxnLst/>
              <a:rect l="0" t="0" r="0" b="0"/>
              <a:pathLst>
                <a:path w="2006918" h="881533">
                  <a:moveTo>
                    <a:pt x="0" y="0"/>
                  </a:moveTo>
                  <a:lnTo>
                    <a:pt x="2006918" y="0"/>
                  </a:lnTo>
                  <a:lnTo>
                    <a:pt x="2006918" y="881533"/>
                  </a:lnTo>
                  <a:lnTo>
                    <a:pt x="0" y="881533"/>
                  </a:lnTo>
                  <a:lnTo>
                    <a:pt x="0" y="0"/>
                  </a:lnTo>
                </a:path>
              </a:pathLst>
            </a:custGeom>
            <a:ln w="0" cap="flat">
              <a:noFill/>
              <a:miter lim="100000"/>
            </a:ln>
          </p:spPr>
          <p:style>
            <a:lnRef idx="0">
              <a:srgbClr val="000000">
                <a:alpha val="0"/>
              </a:srgbClr>
            </a:lnRef>
            <a:fillRef idx="1">
              <a:srgbClr val="3C3C41"/>
            </a:fillRef>
            <a:effectRef idx="0">
              <a:scrgbClr r="0" g="0" b="0"/>
            </a:effectRef>
            <a:fontRef idx="none"/>
          </p:style>
          <p:txBody>
            <a:bodyPr/>
            <a:lstStyle/>
            <a:p>
              <a:endParaRPr lang="en-US"/>
            </a:p>
          </p:txBody>
        </p:sp>
        <p:sp>
          <p:nvSpPr>
            <p:cNvPr id="28" name="Shape 34746">
              <a:extLst>
                <a:ext uri="{FF2B5EF4-FFF2-40B4-BE49-F238E27FC236}">
                  <a16:creationId xmlns:a16="http://schemas.microsoft.com/office/drawing/2014/main" id="{D6C72A1A-A69A-4D6B-93DB-F5A42D5DC3A4}"/>
                </a:ext>
              </a:extLst>
            </p:cNvPr>
            <p:cNvSpPr/>
            <p:nvPr userDrawn="1"/>
          </p:nvSpPr>
          <p:spPr>
            <a:xfrm>
              <a:off x="3184538" y="0"/>
              <a:ext cx="1001878" cy="881533"/>
            </a:xfrm>
            <a:custGeom>
              <a:avLst/>
              <a:gdLst/>
              <a:ahLst/>
              <a:cxnLst/>
              <a:rect l="0" t="0" r="0" b="0"/>
              <a:pathLst>
                <a:path w="1001878" h="881533">
                  <a:moveTo>
                    <a:pt x="0" y="0"/>
                  </a:moveTo>
                  <a:lnTo>
                    <a:pt x="1001878" y="0"/>
                  </a:lnTo>
                  <a:lnTo>
                    <a:pt x="1001878" y="881533"/>
                  </a:lnTo>
                  <a:lnTo>
                    <a:pt x="0" y="881533"/>
                  </a:lnTo>
                  <a:lnTo>
                    <a:pt x="0" y="0"/>
                  </a:lnTo>
                </a:path>
              </a:pathLst>
            </a:custGeom>
            <a:ln w="0" cap="flat">
              <a:noFill/>
              <a:miter lim="100000"/>
            </a:ln>
          </p:spPr>
          <p:style>
            <a:lnRef idx="0">
              <a:srgbClr val="000000">
                <a:alpha val="0"/>
              </a:srgbClr>
            </a:lnRef>
            <a:fillRef idx="1">
              <a:srgbClr val="008272"/>
            </a:fillRef>
            <a:effectRef idx="0">
              <a:scrgbClr r="0" g="0" b="0"/>
            </a:effectRef>
            <a:fontRef idx="none"/>
          </p:style>
          <p:txBody>
            <a:bodyPr/>
            <a:lstStyle/>
            <a:p>
              <a:endParaRPr lang="en-US"/>
            </a:p>
          </p:txBody>
        </p:sp>
        <p:sp>
          <p:nvSpPr>
            <p:cNvPr id="29" name="Shape 34747">
              <a:extLst>
                <a:ext uri="{FF2B5EF4-FFF2-40B4-BE49-F238E27FC236}">
                  <a16:creationId xmlns:a16="http://schemas.microsoft.com/office/drawing/2014/main" id="{DFCB0D70-8AB5-4852-A6CD-D0898F48DC48}"/>
                </a:ext>
              </a:extLst>
            </p:cNvPr>
            <p:cNvSpPr/>
            <p:nvPr userDrawn="1"/>
          </p:nvSpPr>
          <p:spPr>
            <a:xfrm>
              <a:off x="3184538" y="1061517"/>
              <a:ext cx="1001878" cy="400050"/>
            </a:xfrm>
            <a:custGeom>
              <a:avLst/>
              <a:gdLst/>
              <a:ahLst/>
              <a:cxnLst/>
              <a:rect l="0" t="0" r="0" b="0"/>
              <a:pathLst>
                <a:path w="1001878" h="400050">
                  <a:moveTo>
                    <a:pt x="0" y="0"/>
                  </a:moveTo>
                  <a:lnTo>
                    <a:pt x="1001878" y="0"/>
                  </a:lnTo>
                  <a:lnTo>
                    <a:pt x="1001878" y="400050"/>
                  </a:lnTo>
                  <a:lnTo>
                    <a:pt x="0" y="400050"/>
                  </a:lnTo>
                  <a:lnTo>
                    <a:pt x="0" y="0"/>
                  </a:lnTo>
                </a:path>
              </a:pathLst>
            </a:custGeom>
            <a:ln w="0" cap="flat">
              <a:noFill/>
              <a:miter lim="100000"/>
            </a:ln>
          </p:spPr>
          <p:style>
            <a:lnRef idx="0">
              <a:srgbClr val="000000">
                <a:alpha val="0"/>
              </a:srgbClr>
            </a:lnRef>
            <a:fillRef idx="1">
              <a:srgbClr val="008272"/>
            </a:fillRef>
            <a:effectRef idx="0">
              <a:scrgbClr r="0" g="0" b="0"/>
            </a:effectRef>
            <a:fontRef idx="none"/>
          </p:style>
          <p:txBody>
            <a:bodyPr/>
            <a:lstStyle/>
            <a:p>
              <a:endParaRPr lang="en-US"/>
            </a:p>
          </p:txBody>
        </p:sp>
        <p:sp>
          <p:nvSpPr>
            <p:cNvPr id="30" name="Shape 34748">
              <a:extLst>
                <a:ext uri="{FF2B5EF4-FFF2-40B4-BE49-F238E27FC236}">
                  <a16:creationId xmlns:a16="http://schemas.microsoft.com/office/drawing/2014/main" id="{FF3E8AEE-5EB8-4FCB-9345-7436A01B5037}"/>
                </a:ext>
              </a:extLst>
            </p:cNvPr>
            <p:cNvSpPr/>
            <p:nvPr userDrawn="1"/>
          </p:nvSpPr>
          <p:spPr>
            <a:xfrm>
              <a:off x="4187469" y="1061517"/>
              <a:ext cx="1001878" cy="400050"/>
            </a:xfrm>
            <a:custGeom>
              <a:avLst/>
              <a:gdLst/>
              <a:ahLst/>
              <a:cxnLst/>
              <a:rect l="0" t="0" r="0" b="0"/>
              <a:pathLst>
                <a:path w="1001878" h="400050">
                  <a:moveTo>
                    <a:pt x="0" y="0"/>
                  </a:moveTo>
                  <a:lnTo>
                    <a:pt x="1001878" y="0"/>
                  </a:lnTo>
                  <a:lnTo>
                    <a:pt x="1001878" y="400050"/>
                  </a:lnTo>
                  <a:lnTo>
                    <a:pt x="0" y="400050"/>
                  </a:lnTo>
                  <a:lnTo>
                    <a:pt x="0" y="0"/>
                  </a:lnTo>
                </a:path>
              </a:pathLst>
            </a:custGeom>
            <a:ln w="0" cap="flat">
              <a:noFill/>
              <a:miter lim="100000"/>
            </a:ln>
          </p:spPr>
          <p:style>
            <a:lnRef idx="0">
              <a:srgbClr val="000000">
                <a:alpha val="0"/>
              </a:srgbClr>
            </a:lnRef>
            <a:fillRef idx="1">
              <a:srgbClr val="30E5D0"/>
            </a:fillRef>
            <a:effectRef idx="0">
              <a:scrgbClr r="0" g="0" b="0"/>
            </a:effectRef>
            <a:fontRef idx="none"/>
          </p:style>
          <p:txBody>
            <a:bodyPr/>
            <a:lstStyle/>
            <a:p>
              <a:endParaRPr lang="en-US"/>
            </a:p>
          </p:txBody>
        </p:sp>
        <p:sp>
          <p:nvSpPr>
            <p:cNvPr id="31" name="Shape 34749">
              <a:extLst>
                <a:ext uri="{FF2B5EF4-FFF2-40B4-BE49-F238E27FC236}">
                  <a16:creationId xmlns:a16="http://schemas.microsoft.com/office/drawing/2014/main" id="{0F6F9298-4267-424F-9DE8-A04E5D92C3F2}"/>
                </a:ext>
              </a:extLst>
            </p:cNvPr>
            <p:cNvSpPr/>
            <p:nvPr userDrawn="1"/>
          </p:nvSpPr>
          <p:spPr>
            <a:xfrm>
              <a:off x="7378370" y="1061517"/>
              <a:ext cx="1001865" cy="400050"/>
            </a:xfrm>
            <a:custGeom>
              <a:avLst/>
              <a:gdLst/>
              <a:ahLst/>
              <a:cxnLst/>
              <a:rect l="0" t="0" r="0" b="0"/>
              <a:pathLst>
                <a:path w="1001865" h="400050">
                  <a:moveTo>
                    <a:pt x="0" y="0"/>
                  </a:moveTo>
                  <a:lnTo>
                    <a:pt x="1001865" y="0"/>
                  </a:lnTo>
                  <a:lnTo>
                    <a:pt x="1001865" y="400050"/>
                  </a:lnTo>
                  <a:lnTo>
                    <a:pt x="0" y="400050"/>
                  </a:lnTo>
                  <a:lnTo>
                    <a:pt x="0" y="0"/>
                  </a:lnTo>
                </a:path>
              </a:pathLst>
            </a:custGeom>
            <a:ln w="0" cap="flat">
              <a:noFill/>
              <a:miter lim="100000"/>
            </a:ln>
          </p:spPr>
          <p:style>
            <a:lnRef idx="0">
              <a:srgbClr val="000000">
                <a:alpha val="0"/>
              </a:srgbClr>
            </a:lnRef>
            <a:fillRef idx="1">
              <a:srgbClr val="30E5D0"/>
            </a:fillRef>
            <a:effectRef idx="0">
              <a:scrgbClr r="0" g="0" b="0"/>
            </a:effectRef>
            <a:fontRef idx="none"/>
          </p:style>
          <p:txBody>
            <a:bodyPr/>
            <a:lstStyle/>
            <a:p>
              <a:endParaRPr lang="en-US"/>
            </a:p>
          </p:txBody>
        </p:sp>
        <p:sp>
          <p:nvSpPr>
            <p:cNvPr id="32" name="Shape 34750">
              <a:extLst>
                <a:ext uri="{FF2B5EF4-FFF2-40B4-BE49-F238E27FC236}">
                  <a16:creationId xmlns:a16="http://schemas.microsoft.com/office/drawing/2014/main" id="{F3A82740-A27D-419A-9071-C99151F8EC7A}"/>
                </a:ext>
              </a:extLst>
            </p:cNvPr>
            <p:cNvSpPr/>
            <p:nvPr userDrawn="1"/>
          </p:nvSpPr>
          <p:spPr>
            <a:xfrm>
              <a:off x="10569257" y="1061517"/>
              <a:ext cx="1001878" cy="400050"/>
            </a:xfrm>
            <a:custGeom>
              <a:avLst/>
              <a:gdLst/>
              <a:ahLst/>
              <a:cxnLst/>
              <a:rect l="0" t="0" r="0" b="0"/>
              <a:pathLst>
                <a:path w="1001878" h="400050">
                  <a:moveTo>
                    <a:pt x="0" y="0"/>
                  </a:moveTo>
                  <a:lnTo>
                    <a:pt x="1001878" y="0"/>
                  </a:lnTo>
                  <a:lnTo>
                    <a:pt x="1001878" y="400050"/>
                  </a:lnTo>
                  <a:lnTo>
                    <a:pt x="0" y="400050"/>
                  </a:lnTo>
                  <a:lnTo>
                    <a:pt x="0" y="0"/>
                  </a:lnTo>
                </a:path>
              </a:pathLst>
            </a:custGeom>
            <a:ln w="0" cap="flat">
              <a:noFill/>
              <a:miter lim="100000"/>
            </a:ln>
          </p:spPr>
          <p:style>
            <a:lnRef idx="0">
              <a:srgbClr val="000000">
                <a:alpha val="0"/>
              </a:srgbClr>
            </a:lnRef>
            <a:fillRef idx="1">
              <a:srgbClr val="75757A"/>
            </a:fillRef>
            <a:effectRef idx="0">
              <a:scrgbClr r="0" g="0" b="0"/>
            </a:effectRef>
            <a:fontRef idx="none"/>
          </p:style>
          <p:txBody>
            <a:bodyPr/>
            <a:lstStyle/>
            <a:p>
              <a:endParaRPr lang="en-US"/>
            </a:p>
          </p:txBody>
        </p:sp>
        <p:sp>
          <p:nvSpPr>
            <p:cNvPr id="33" name="Shape 34751">
              <a:extLst>
                <a:ext uri="{FF2B5EF4-FFF2-40B4-BE49-F238E27FC236}">
                  <a16:creationId xmlns:a16="http://schemas.microsoft.com/office/drawing/2014/main" id="{C6EC78F6-2F73-4674-9D1F-BAAF8641F52B}"/>
                </a:ext>
              </a:extLst>
            </p:cNvPr>
            <p:cNvSpPr/>
            <p:nvPr userDrawn="1"/>
          </p:nvSpPr>
          <p:spPr>
            <a:xfrm>
              <a:off x="5189347" y="1061517"/>
              <a:ext cx="1001865" cy="400050"/>
            </a:xfrm>
            <a:custGeom>
              <a:avLst/>
              <a:gdLst/>
              <a:ahLst/>
              <a:cxnLst/>
              <a:rect l="0" t="0" r="0" b="0"/>
              <a:pathLst>
                <a:path w="1001865" h="400050">
                  <a:moveTo>
                    <a:pt x="0" y="0"/>
                  </a:moveTo>
                  <a:lnTo>
                    <a:pt x="1001865" y="0"/>
                  </a:lnTo>
                  <a:lnTo>
                    <a:pt x="1001865" y="400050"/>
                  </a:lnTo>
                  <a:lnTo>
                    <a:pt x="0" y="400050"/>
                  </a:lnTo>
                  <a:lnTo>
                    <a:pt x="0" y="0"/>
                  </a:lnTo>
                </a:path>
              </a:pathLst>
            </a:custGeom>
            <a:ln w="0" cap="flat">
              <a:noFill/>
              <a:miter lim="100000"/>
            </a:ln>
          </p:spPr>
          <p:style>
            <a:lnRef idx="0">
              <a:srgbClr val="000000">
                <a:alpha val="0"/>
              </a:srgbClr>
            </a:lnRef>
            <a:fillRef idx="1">
              <a:srgbClr val="3C3C41"/>
            </a:fillRef>
            <a:effectRef idx="0">
              <a:scrgbClr r="0" g="0" b="0"/>
            </a:effectRef>
            <a:fontRef idx="none"/>
          </p:style>
          <p:txBody>
            <a:bodyPr/>
            <a:lstStyle/>
            <a:p>
              <a:endParaRPr lang="en-US"/>
            </a:p>
          </p:txBody>
        </p:sp>
        <p:sp>
          <p:nvSpPr>
            <p:cNvPr id="34" name="Shape 34752">
              <a:extLst>
                <a:ext uri="{FF2B5EF4-FFF2-40B4-BE49-F238E27FC236}">
                  <a16:creationId xmlns:a16="http://schemas.microsoft.com/office/drawing/2014/main" id="{61B8BD4B-7E5A-4D1B-A617-35C9B0BB9FFB}"/>
                </a:ext>
              </a:extLst>
            </p:cNvPr>
            <p:cNvSpPr/>
            <p:nvPr userDrawn="1"/>
          </p:nvSpPr>
          <p:spPr>
            <a:xfrm>
              <a:off x="8380235" y="1061517"/>
              <a:ext cx="1001878" cy="400050"/>
            </a:xfrm>
            <a:custGeom>
              <a:avLst/>
              <a:gdLst/>
              <a:ahLst/>
              <a:cxnLst/>
              <a:rect l="0" t="0" r="0" b="0"/>
              <a:pathLst>
                <a:path w="1001878" h="400050">
                  <a:moveTo>
                    <a:pt x="0" y="0"/>
                  </a:moveTo>
                  <a:lnTo>
                    <a:pt x="1001878" y="0"/>
                  </a:lnTo>
                  <a:lnTo>
                    <a:pt x="1001878" y="400050"/>
                  </a:lnTo>
                  <a:lnTo>
                    <a:pt x="0" y="400050"/>
                  </a:lnTo>
                  <a:lnTo>
                    <a:pt x="0" y="0"/>
                  </a:lnTo>
                </a:path>
              </a:pathLst>
            </a:custGeom>
            <a:ln w="0" cap="flat">
              <a:noFill/>
              <a:miter lim="100000"/>
            </a:ln>
          </p:spPr>
          <p:style>
            <a:lnRef idx="0">
              <a:srgbClr val="000000">
                <a:alpha val="0"/>
              </a:srgbClr>
            </a:lnRef>
            <a:fillRef idx="1">
              <a:srgbClr val="3C3C41"/>
            </a:fillRef>
            <a:effectRef idx="0">
              <a:scrgbClr r="0" g="0" b="0"/>
            </a:effectRef>
            <a:fontRef idx="none"/>
          </p:style>
          <p:txBody>
            <a:bodyPr/>
            <a:lstStyle/>
            <a:p>
              <a:endParaRPr lang="en-US"/>
            </a:p>
          </p:txBody>
        </p:sp>
        <p:sp>
          <p:nvSpPr>
            <p:cNvPr id="35" name="Shape 34753">
              <a:extLst>
                <a:ext uri="{FF2B5EF4-FFF2-40B4-BE49-F238E27FC236}">
                  <a16:creationId xmlns:a16="http://schemas.microsoft.com/office/drawing/2014/main" id="{CDF8ED96-44E3-4FF9-BD37-088F4E4B7590}"/>
                </a:ext>
              </a:extLst>
            </p:cNvPr>
            <p:cNvSpPr/>
            <p:nvPr userDrawn="1"/>
          </p:nvSpPr>
          <p:spPr>
            <a:xfrm>
              <a:off x="9567380" y="1061517"/>
              <a:ext cx="1001878" cy="400050"/>
            </a:xfrm>
            <a:custGeom>
              <a:avLst/>
              <a:gdLst/>
              <a:ahLst/>
              <a:cxnLst/>
              <a:rect l="0" t="0" r="0" b="0"/>
              <a:pathLst>
                <a:path w="1001878" h="400050">
                  <a:moveTo>
                    <a:pt x="0" y="0"/>
                  </a:moveTo>
                  <a:lnTo>
                    <a:pt x="1001878" y="0"/>
                  </a:lnTo>
                  <a:lnTo>
                    <a:pt x="1001878" y="400050"/>
                  </a:lnTo>
                  <a:lnTo>
                    <a:pt x="0" y="400050"/>
                  </a:lnTo>
                  <a:lnTo>
                    <a:pt x="0" y="0"/>
                  </a:lnTo>
                </a:path>
              </a:pathLst>
            </a:custGeom>
            <a:ln w="0" cap="flat">
              <a:noFill/>
              <a:miter lim="100000"/>
            </a:ln>
          </p:spPr>
          <p:style>
            <a:lnRef idx="0">
              <a:srgbClr val="000000">
                <a:alpha val="0"/>
              </a:srgbClr>
            </a:lnRef>
            <a:fillRef idx="1">
              <a:srgbClr val="30E5D0"/>
            </a:fillRef>
            <a:effectRef idx="0">
              <a:scrgbClr r="0" g="0" b="0"/>
            </a:effectRef>
            <a:fontRef idx="none"/>
          </p:style>
          <p:txBody>
            <a:bodyPr/>
            <a:lstStyle/>
            <a:p>
              <a:endParaRPr lang="en-US"/>
            </a:p>
          </p:txBody>
        </p:sp>
        <p:sp>
          <p:nvSpPr>
            <p:cNvPr id="36" name="Shape 34754">
              <a:extLst>
                <a:ext uri="{FF2B5EF4-FFF2-40B4-BE49-F238E27FC236}">
                  <a16:creationId xmlns:a16="http://schemas.microsoft.com/office/drawing/2014/main" id="{33639B97-4EC8-4A96-8674-EC0CA6D35CCB}"/>
                </a:ext>
              </a:extLst>
            </p:cNvPr>
            <p:cNvSpPr/>
            <p:nvPr userDrawn="1"/>
          </p:nvSpPr>
          <p:spPr>
            <a:xfrm>
              <a:off x="9561564" y="0"/>
              <a:ext cx="1001878" cy="881533"/>
            </a:xfrm>
            <a:custGeom>
              <a:avLst/>
              <a:gdLst/>
              <a:ahLst/>
              <a:cxnLst/>
              <a:rect l="0" t="0" r="0" b="0"/>
              <a:pathLst>
                <a:path w="1001878" h="881533">
                  <a:moveTo>
                    <a:pt x="0" y="0"/>
                  </a:moveTo>
                  <a:lnTo>
                    <a:pt x="1001878" y="0"/>
                  </a:lnTo>
                  <a:lnTo>
                    <a:pt x="1001878" y="881533"/>
                  </a:lnTo>
                  <a:lnTo>
                    <a:pt x="0" y="881533"/>
                  </a:lnTo>
                  <a:lnTo>
                    <a:pt x="0" y="0"/>
                  </a:lnTo>
                </a:path>
              </a:pathLst>
            </a:custGeom>
            <a:ln w="0" cap="flat">
              <a:noFill/>
              <a:miter lim="100000"/>
            </a:ln>
          </p:spPr>
          <p:style>
            <a:lnRef idx="0">
              <a:srgbClr val="000000">
                <a:alpha val="0"/>
              </a:srgbClr>
            </a:lnRef>
            <a:fillRef idx="1">
              <a:srgbClr val="30E5D0"/>
            </a:fillRef>
            <a:effectRef idx="0">
              <a:scrgbClr r="0" g="0" b="0"/>
            </a:effectRef>
            <a:fontRef idx="none"/>
          </p:style>
          <p:txBody>
            <a:bodyPr/>
            <a:lstStyle/>
            <a:p>
              <a:endParaRPr lang="en-US"/>
            </a:p>
          </p:txBody>
        </p:sp>
        <p:sp>
          <p:nvSpPr>
            <p:cNvPr id="37" name="Shape 4980">
              <a:extLst>
                <a:ext uri="{FF2B5EF4-FFF2-40B4-BE49-F238E27FC236}">
                  <a16:creationId xmlns:a16="http://schemas.microsoft.com/office/drawing/2014/main" id="{7FEE606F-FA83-4898-9AAC-BAFFAA27B3D5}"/>
                </a:ext>
              </a:extLst>
            </p:cNvPr>
            <p:cNvSpPr/>
            <p:nvPr userDrawn="1"/>
          </p:nvSpPr>
          <p:spPr>
            <a:xfrm>
              <a:off x="6375438" y="1061517"/>
              <a:ext cx="1001878" cy="400050"/>
            </a:xfrm>
            <a:custGeom>
              <a:avLst/>
              <a:gdLst/>
              <a:ahLst/>
              <a:cxnLst/>
              <a:rect l="0" t="0" r="0" b="0"/>
              <a:pathLst>
                <a:path w="1001878" h="400050">
                  <a:moveTo>
                    <a:pt x="0" y="400050"/>
                  </a:moveTo>
                  <a:lnTo>
                    <a:pt x="1001878" y="400050"/>
                  </a:lnTo>
                  <a:lnTo>
                    <a:pt x="1001878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 w="3175" cap="flat">
              <a:noFill/>
              <a:miter lim="100000"/>
            </a:ln>
          </p:spPr>
          <p:style>
            <a:lnRef idx="1">
              <a:srgbClr val="3C3C41"/>
            </a:lnRef>
            <a:fillRef idx="0">
              <a:srgbClr val="000000">
                <a:alpha val="0"/>
              </a:srgbClr>
            </a:fillRef>
            <a:effectRef idx="0">
              <a:scrgbClr r="0" g="0" b="0"/>
            </a:effectRef>
            <a:fontRef idx="none"/>
          </p:style>
          <p:txBody>
            <a:bodyPr/>
            <a:lstStyle/>
            <a:p>
              <a:endParaRPr lang="en-US"/>
            </a:p>
          </p:txBody>
        </p:sp>
        <p:sp>
          <p:nvSpPr>
            <p:cNvPr id="38" name="Shape 34755">
              <a:extLst>
                <a:ext uri="{FF2B5EF4-FFF2-40B4-BE49-F238E27FC236}">
                  <a16:creationId xmlns:a16="http://schemas.microsoft.com/office/drawing/2014/main" id="{AB6B6F4D-58DB-4DC8-BF07-D5A6F9C97644}"/>
                </a:ext>
              </a:extLst>
            </p:cNvPr>
            <p:cNvSpPr/>
            <p:nvPr userDrawn="1"/>
          </p:nvSpPr>
          <p:spPr>
            <a:xfrm>
              <a:off x="11572189" y="1061517"/>
              <a:ext cx="1001878" cy="400050"/>
            </a:xfrm>
            <a:custGeom>
              <a:avLst/>
              <a:gdLst/>
              <a:ahLst/>
              <a:cxnLst/>
              <a:rect l="0" t="0" r="0" b="0"/>
              <a:pathLst>
                <a:path w="1001878" h="400050">
                  <a:moveTo>
                    <a:pt x="0" y="0"/>
                  </a:moveTo>
                  <a:lnTo>
                    <a:pt x="1001878" y="0"/>
                  </a:lnTo>
                  <a:lnTo>
                    <a:pt x="1001878" y="400050"/>
                  </a:lnTo>
                  <a:lnTo>
                    <a:pt x="0" y="400050"/>
                  </a:lnTo>
                  <a:lnTo>
                    <a:pt x="0" y="0"/>
                  </a:lnTo>
                </a:path>
              </a:pathLst>
            </a:custGeom>
            <a:ln w="3175" cap="flat">
              <a:noFill/>
              <a:miter lim="100000"/>
            </a:ln>
          </p:spPr>
          <p:style>
            <a:lnRef idx="1">
              <a:srgbClr val="3C3C41"/>
            </a:lnRef>
            <a:fillRef idx="1">
              <a:srgbClr val="3C3C41"/>
            </a:fillRef>
            <a:effectRef idx="0">
              <a:scrgbClr r="0" g="0" b="0"/>
            </a:effectRef>
            <a:fontRef idx="none"/>
          </p:style>
          <p:txBody>
            <a:bodyPr/>
            <a:lstStyle/>
            <a:p>
              <a:endParaRPr lang="en-US"/>
            </a:p>
          </p:txBody>
        </p:sp>
        <p:sp>
          <p:nvSpPr>
            <p:cNvPr id="39" name="Shape 4982">
              <a:extLst>
                <a:ext uri="{FF2B5EF4-FFF2-40B4-BE49-F238E27FC236}">
                  <a16:creationId xmlns:a16="http://schemas.microsoft.com/office/drawing/2014/main" id="{AC2E100E-184C-4DCF-9EDC-71E58BA5A30A}"/>
                </a:ext>
              </a:extLst>
            </p:cNvPr>
            <p:cNvSpPr/>
            <p:nvPr userDrawn="1"/>
          </p:nvSpPr>
          <p:spPr>
            <a:xfrm>
              <a:off x="6377026" y="0"/>
              <a:ext cx="1001878" cy="881533"/>
            </a:xfrm>
            <a:custGeom>
              <a:avLst/>
              <a:gdLst/>
              <a:ahLst/>
              <a:cxnLst/>
              <a:rect l="0" t="0" r="0" b="0"/>
              <a:pathLst>
                <a:path w="1001878" h="881533">
                  <a:moveTo>
                    <a:pt x="0" y="881533"/>
                  </a:moveTo>
                  <a:lnTo>
                    <a:pt x="1001878" y="881533"/>
                  </a:lnTo>
                  <a:lnTo>
                    <a:pt x="1001878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 w="3175" cap="flat">
              <a:noFill/>
              <a:miter lim="100000"/>
            </a:ln>
          </p:spPr>
          <p:style>
            <a:lnRef idx="1">
              <a:srgbClr val="3C3C41"/>
            </a:lnRef>
            <a:fillRef idx="0">
              <a:srgbClr val="000000">
                <a:alpha val="0"/>
              </a:srgbClr>
            </a:fillRef>
            <a:effectRef idx="0">
              <a:scrgbClr r="0" g="0" b="0"/>
            </a:effectRef>
            <a:fontRef idx="none"/>
          </p:style>
          <p:txBody>
            <a:bodyPr/>
            <a:lstStyle/>
            <a:p>
              <a:endParaRPr lang="en-US"/>
            </a:p>
          </p:txBody>
        </p:sp>
      </p:grpSp>
      <p:graphicFrame>
        <p:nvGraphicFramePr>
          <p:cNvPr id="40" name="Table 39">
            <a:extLst>
              <a:ext uri="{FF2B5EF4-FFF2-40B4-BE49-F238E27FC236}">
                <a16:creationId xmlns:a16="http://schemas.microsoft.com/office/drawing/2014/main" id="{61EF8645-8B66-48E7-B17B-6F3D48D699CB}"/>
              </a:ext>
            </a:extLst>
          </p:cNvPr>
          <p:cNvGraphicFramePr>
            <a:graphicFrameLocks noGrp="1"/>
          </p:cNvGraphicFramePr>
          <p:nvPr/>
        </p:nvGraphicFramePr>
        <p:xfrm>
          <a:off x="13397218" y="-16936"/>
          <a:ext cx="2500652" cy="5416206"/>
        </p:xfrm>
        <a:graphic>
          <a:graphicData uri="http://schemas.openxmlformats.org/drawingml/2006/table">
            <a:tbl>
              <a:tblPr firstRow="1" firstCol="1" bandRow="1"/>
              <a:tblGrid>
                <a:gridCol w="2500652">
                  <a:extLst>
                    <a:ext uri="{9D8B030D-6E8A-4147-A177-3AD203B41FA5}">
                      <a16:colId xmlns:a16="http://schemas.microsoft.com/office/drawing/2014/main" val="2676493096"/>
                    </a:ext>
                  </a:extLst>
                </a:gridCol>
              </a:tblGrid>
              <a:tr h="1805402">
                <a:tc>
                  <a:txBody>
                    <a:bodyPr/>
                    <a:lstStyle/>
                    <a:p>
                      <a:pPr marL="0" marR="0" algn="l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3500" b="1">
                          <a:solidFill>
                            <a:srgbClr val="008272"/>
                          </a:solidFill>
                          <a:effectLst/>
                          <a:latin typeface="Segoe UI" panose="020B0502040204020203" pitchFamily="34" charset="0"/>
                          <a:ea typeface="Segoe UI" panose="020B0502040204020203" pitchFamily="34" charset="0"/>
                          <a:cs typeface="Times New Roman" panose="02020603050405020304" pitchFamily="18" charset="0"/>
                        </a:rPr>
                        <a:t>Unlock next.</a:t>
                      </a:r>
                      <a:endParaRPr lang="en-US" sz="1000">
                        <a:solidFill>
                          <a:srgbClr val="000000"/>
                        </a:solidFill>
                        <a:effectLst/>
                        <a:latin typeface="Segoe UI" panose="020B0502040204020203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70251" marR="67608" marT="0" marB="405055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57119204"/>
                  </a:ext>
                </a:extLst>
              </a:tr>
              <a:tr h="1805402">
                <a:tc>
                  <a:txBody>
                    <a:bodyPr/>
                    <a:lstStyle/>
                    <a:p>
                      <a:pPr marL="0" marR="0" lvl="0" indent="0" algn="l" defTabSz="914367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3500" b="1" kern="1200">
                          <a:solidFill>
                            <a:srgbClr val="FFFEFD"/>
                          </a:solidFill>
                          <a:effectLst/>
                          <a:latin typeface="Segoe UI" panose="020B0502040204020203" pitchFamily="34" charset="0"/>
                          <a:ea typeface="Segoe UI" panose="020B0502040204020203" pitchFamily="34" charset="0"/>
                          <a:cs typeface="Times New Roman" panose="02020603050405020304" pitchFamily="18" charset="0"/>
                        </a:rPr>
                        <a:t>Unlock next.</a:t>
                      </a:r>
                      <a:endParaRPr lang="en-US" sz="3500" b="1" kern="1200">
                        <a:solidFill>
                          <a:srgbClr val="FFFEFD"/>
                        </a:solidFill>
                        <a:effectLst/>
                        <a:latin typeface="Segoe UI" panose="020B0502040204020203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70251" marR="67608" marT="0" marB="405055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827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59116892"/>
                  </a:ext>
                </a:extLst>
              </a:tr>
              <a:tr h="1805402">
                <a:tc>
                  <a:txBody>
                    <a:bodyPr/>
                    <a:lstStyle/>
                    <a:p>
                      <a:pPr marL="0" marR="0" lvl="0" indent="0" algn="l" defTabSz="914367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3500" b="1" kern="1200">
                          <a:solidFill>
                            <a:srgbClr val="30E5D0"/>
                          </a:solidFill>
                          <a:effectLst/>
                          <a:latin typeface="Segoe UI" panose="020B0502040204020203" pitchFamily="34" charset="0"/>
                          <a:ea typeface="Segoe UI" panose="020B0502040204020203" pitchFamily="34" charset="0"/>
                          <a:cs typeface="Times New Roman" panose="02020603050405020304" pitchFamily="18" charset="0"/>
                        </a:rPr>
                        <a:t>Unlock next.</a:t>
                      </a:r>
                      <a:endParaRPr lang="en-US" sz="3500" b="1" kern="1200">
                        <a:solidFill>
                          <a:srgbClr val="30E5D0"/>
                        </a:solidFill>
                        <a:effectLst/>
                        <a:latin typeface="Segoe UI" panose="020B0502040204020203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70251" marR="67608" marT="0" marB="405055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C3C4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3630878"/>
                  </a:ext>
                </a:extLst>
              </a:tr>
            </a:tbl>
          </a:graphicData>
        </a:graphic>
      </p:graphicFrame>
      <p:graphicFrame>
        <p:nvGraphicFramePr>
          <p:cNvPr id="41" name="Table 40">
            <a:extLst>
              <a:ext uri="{FF2B5EF4-FFF2-40B4-BE49-F238E27FC236}">
                <a16:creationId xmlns:a16="http://schemas.microsoft.com/office/drawing/2014/main" id="{A0E4FBD6-C58B-4E81-8469-3BF05ED5AE18}"/>
              </a:ext>
            </a:extLst>
          </p:cNvPr>
          <p:cNvGraphicFramePr>
            <a:graphicFrameLocks noGrp="1"/>
          </p:cNvGraphicFramePr>
          <p:nvPr/>
        </p:nvGraphicFramePr>
        <p:xfrm>
          <a:off x="12381237" y="5495708"/>
          <a:ext cx="3968905" cy="1316153"/>
        </p:xfrm>
        <a:graphic>
          <a:graphicData uri="http://schemas.openxmlformats.org/drawingml/2006/table">
            <a:tbl>
              <a:tblPr firstRow="1" firstCol="1" bandRow="1"/>
              <a:tblGrid>
                <a:gridCol w="839668">
                  <a:extLst>
                    <a:ext uri="{9D8B030D-6E8A-4147-A177-3AD203B41FA5}">
                      <a16:colId xmlns:a16="http://schemas.microsoft.com/office/drawing/2014/main" val="1609752180"/>
                    </a:ext>
                  </a:extLst>
                </a:gridCol>
                <a:gridCol w="828447">
                  <a:extLst>
                    <a:ext uri="{9D8B030D-6E8A-4147-A177-3AD203B41FA5}">
                      <a16:colId xmlns:a16="http://schemas.microsoft.com/office/drawing/2014/main" val="1258621652"/>
                    </a:ext>
                  </a:extLst>
                </a:gridCol>
                <a:gridCol w="730561">
                  <a:extLst>
                    <a:ext uri="{9D8B030D-6E8A-4147-A177-3AD203B41FA5}">
                      <a16:colId xmlns:a16="http://schemas.microsoft.com/office/drawing/2014/main" val="1939155094"/>
                    </a:ext>
                  </a:extLst>
                </a:gridCol>
                <a:gridCol w="730561">
                  <a:extLst>
                    <a:ext uri="{9D8B030D-6E8A-4147-A177-3AD203B41FA5}">
                      <a16:colId xmlns:a16="http://schemas.microsoft.com/office/drawing/2014/main" val="1921586234"/>
                    </a:ext>
                  </a:extLst>
                </a:gridCol>
                <a:gridCol w="839668">
                  <a:extLst>
                    <a:ext uri="{9D8B030D-6E8A-4147-A177-3AD203B41FA5}">
                      <a16:colId xmlns:a16="http://schemas.microsoft.com/office/drawing/2014/main" val="1402456235"/>
                    </a:ext>
                  </a:extLst>
                </a:gridCol>
              </a:tblGrid>
              <a:tr h="105690">
                <a:tc>
                  <a:txBody>
                    <a:bodyPr/>
                    <a:lstStyle/>
                    <a:p>
                      <a:pPr marL="0" marR="0" algn="l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50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0" marR="32586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50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0" marR="32586" marT="0" marB="0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50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0" marR="32586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BEBE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50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0" marR="32586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BEBEB"/>
                    </a:solidFill>
                  </a:tcPr>
                </a:tc>
                <a:tc>
                  <a:txBody>
                    <a:bodyPr/>
                    <a:lstStyle/>
                    <a:p>
                      <a:pPr marL="177800" marR="0" algn="l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500">
                        <a:solidFill>
                          <a:srgbClr val="000000"/>
                        </a:solidFill>
                        <a:effectLst/>
                        <a:latin typeface="Segoe UI" panose="020B0502040204020203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32586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EF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89791449"/>
                  </a:ext>
                </a:extLst>
              </a:tr>
              <a:tr h="214610">
                <a:tc rowSpan="5">
                  <a:txBody>
                    <a:bodyPr/>
                    <a:lstStyle/>
                    <a:p>
                      <a:pPr marL="165100" marR="0" algn="l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500">
                        <a:solidFill>
                          <a:srgbClr val="000000"/>
                        </a:solidFill>
                        <a:effectLst/>
                        <a:latin typeface="Segoe UI" panose="020B0502040204020203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4931" marR="54931" marT="27466" marB="27466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rowSpan="5">
                  <a:txBody>
                    <a:bodyPr/>
                    <a:lstStyle/>
                    <a:p>
                      <a:pPr marL="0" marR="0" algn="l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500">
                        <a:solidFill>
                          <a:srgbClr val="000000"/>
                        </a:solidFill>
                        <a:effectLst/>
                        <a:latin typeface="Segoe UI" panose="020B0502040204020203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4931" marR="54931" marT="27466" marB="27466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165100" marR="0" algn="l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500">
                        <a:solidFill>
                          <a:srgbClr val="000000"/>
                        </a:solidFill>
                        <a:effectLst/>
                        <a:latin typeface="Segoe UI" panose="020B0502040204020203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4931" marR="54931" marT="27466" marB="27466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BEBEB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marR="0" algn="l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500">
                        <a:solidFill>
                          <a:srgbClr val="000000"/>
                        </a:solidFill>
                        <a:effectLst/>
                        <a:latin typeface="Segoe UI" panose="020B0502040204020203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4931" marR="54931" marT="27466" marB="27466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BEBEB"/>
                    </a:solidFill>
                  </a:tcPr>
                </a:tc>
                <a:tc>
                  <a:txBody>
                    <a:bodyPr/>
                    <a:lstStyle/>
                    <a:p>
                      <a:pPr marL="177800" marR="41275" algn="l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500">
                        <a:solidFill>
                          <a:srgbClr val="000000"/>
                        </a:solidFill>
                        <a:effectLst/>
                        <a:latin typeface="Segoe UI" panose="020B0502040204020203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32586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EF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81177611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marL="177800" marR="0" algn="l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500">
                        <a:solidFill>
                          <a:srgbClr val="000000"/>
                        </a:solidFill>
                        <a:effectLst/>
                        <a:latin typeface="Segoe UI" panose="020B0502040204020203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4931" marR="54931" marT="27466" marB="27466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0E5D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05322679"/>
                  </a:ext>
                </a:extLst>
              </a:tr>
              <a:tr h="283465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marL="165100" marR="0" algn="l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500">
                        <a:solidFill>
                          <a:srgbClr val="000000"/>
                        </a:solidFill>
                        <a:effectLst/>
                        <a:latin typeface="Segoe UI" panose="020B0502040204020203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4931" marR="54931" marT="27466" marB="27466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5757A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marR="0" algn="l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500">
                        <a:solidFill>
                          <a:srgbClr val="000000"/>
                        </a:solidFill>
                        <a:effectLst/>
                        <a:latin typeface="Segoe UI" panose="020B0502040204020203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4931" marR="54931" marT="27466" marB="27466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5757A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17867007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marL="177800" marR="0" algn="l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500">
                        <a:solidFill>
                          <a:srgbClr val="000000"/>
                        </a:solidFill>
                        <a:effectLst/>
                        <a:latin typeface="Segoe UI" panose="020B0502040204020203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4931" marR="54931" marT="27466" marB="27466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827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47092800"/>
                  </a:ext>
                </a:extLst>
              </a:tr>
              <a:tr h="606656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65100" marR="0" algn="l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500">
                        <a:solidFill>
                          <a:srgbClr val="000000"/>
                        </a:solidFill>
                        <a:effectLst/>
                        <a:latin typeface="Segoe UI" panose="020B0502040204020203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32586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C3C4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854075" algn="l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500">
                        <a:solidFill>
                          <a:srgbClr val="000000"/>
                        </a:solidFill>
                        <a:effectLst/>
                        <a:latin typeface="Segoe UI" panose="020B0502040204020203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32586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C3C4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07068851"/>
                  </a:ext>
                </a:extLst>
              </a:tr>
            </a:tbl>
          </a:graphicData>
        </a:graphic>
      </p:graphicFrame>
      <p:pic>
        <p:nvPicPr>
          <p:cNvPr id="22" name="Picture 21">
            <a:extLst>
              <a:ext uri="{FF2B5EF4-FFF2-40B4-BE49-F238E27FC236}">
                <a16:creationId xmlns:a16="http://schemas.microsoft.com/office/drawing/2014/main" id="{2F3AEAC4-DC44-4D3F-BF46-3339379DD5D9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2279377" y="189356"/>
            <a:ext cx="1203358" cy="59035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9386065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3" r:id="rId1"/>
    <p:sldLayoutId id="2147483674" r:id="rId2"/>
    <p:sldLayoutId id="2147483702" r:id="rId3"/>
    <p:sldLayoutId id="2147483704" r:id="rId4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algn="l" defTabSz="914367" rtl="0" eaLnBrk="1" latinLnBrk="0" hangingPunct="1">
        <a:lnSpc>
          <a:spcPct val="90000"/>
        </a:lnSpc>
        <a:spcBef>
          <a:spcPct val="0"/>
        </a:spcBef>
        <a:buNone/>
        <a:defRPr lang="en-US" sz="4705" b="0" kern="1200" cap="none" spc="-100" baseline="0" dirty="0" smtClean="0">
          <a:ln w="3175">
            <a:noFill/>
          </a:ln>
          <a:solidFill>
            <a:schemeClr val="tx1"/>
          </a:solidFill>
          <a:effectLst/>
          <a:latin typeface="+mj-lt"/>
          <a:ea typeface="+mn-ea"/>
          <a:cs typeface="Segoe UI" pitchFamily="34" charset="0"/>
        </a:defRPr>
      </a:lvl1pPr>
    </p:titleStyle>
    <p:bodyStyle>
      <a:lvl1pPr marL="336145" marR="0" indent="-336145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3921" kern="1200" spc="0" baseline="0">
          <a:solidFill>
            <a:schemeClr val="tx1"/>
          </a:solidFill>
          <a:latin typeface="+mj-lt"/>
          <a:ea typeface="+mn-ea"/>
          <a:cs typeface="+mn-cs"/>
        </a:defRPr>
      </a:lvl1pPr>
      <a:lvl2pPr marL="572691" marR="0" indent="-236546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353" kern="1200" spc="0" baseline="0">
          <a:solidFill>
            <a:schemeClr val="tx1"/>
          </a:solidFill>
          <a:latin typeface="+mn-lt"/>
          <a:ea typeface="+mn-ea"/>
          <a:cs typeface="+mn-cs"/>
        </a:defRPr>
      </a:lvl2pPr>
      <a:lvl3pPr marL="784338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961" kern="1200" spc="0" baseline="0">
          <a:solidFill>
            <a:schemeClr val="tx1"/>
          </a:solidFill>
          <a:latin typeface="+mn-lt"/>
          <a:ea typeface="+mn-ea"/>
          <a:cs typeface="+mn-cs"/>
        </a:defRPr>
      </a:lvl3pPr>
      <a:lvl4pPr marL="1008435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765" kern="1200" spc="0" baseline="0">
          <a:solidFill>
            <a:schemeClr val="tx1"/>
          </a:solidFill>
          <a:latin typeface="+mn-lt"/>
          <a:ea typeface="+mn-ea"/>
          <a:cs typeface="+mn-cs"/>
        </a:defRPr>
      </a:lvl4pPr>
      <a:lvl5pPr marL="1232531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765" kern="1200" spc="0" baseline="0">
          <a:solidFill>
            <a:schemeClr val="tx1"/>
          </a:solidFill>
          <a:latin typeface="+mn-lt"/>
          <a:ea typeface="+mn-ea"/>
          <a:cs typeface="+mn-cs"/>
        </a:defRPr>
      </a:lvl5pPr>
      <a:lvl6pPr marL="2514509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6pPr>
      <a:lvl7pPr marL="2971693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7pPr>
      <a:lvl8pPr marL="3428877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8pPr>
      <a:lvl9pPr marL="3886061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1pPr>
      <a:lvl2pPr marL="457183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2pPr>
      <a:lvl3pPr marL="914367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3pPr>
      <a:lvl4pPr marL="137155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4pPr>
      <a:lvl5pPr marL="182873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5pPr>
      <a:lvl6pPr marL="2285918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6pPr>
      <a:lvl7pPr marL="2743101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7pPr>
      <a:lvl8pPr marL="320028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8pPr>
      <a:lvl9pPr marL="3657469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392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hyperlink" Target="https://docs.microsoft.com/en-us/learn/modules/fit-gap-analysis/" TargetMode="Externa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4" Type="http://schemas.openxmlformats.org/officeDocument/2006/relationships/hyperlink" Target="https://docs.microsoft.com/en-us/learn/modules/design-plan-implementation-finance-operations/12-design-doc" TargetMode="Externa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1AAB675F-0E53-4F4A-8014-781B09191E9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887766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25" imgH="426" progId="TCLayout.ActiveDocument.1">
                  <p:embed/>
                </p:oleObj>
              </mc:Choice>
              <mc:Fallback>
                <p:oleObj name="think-cell Slide" r:id="rId5" imgW="425" imgH="42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1AAB675F-0E53-4F4A-8014-781B09191E9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9C688989-C678-4EEB-A04D-D19F3B124FD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42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Semibold" panose="020B0702040204020203" pitchFamily="34" charset="0"/>
              <a:cs typeface="Segoe UI" panose="020B0502040204020203" pitchFamily="34" charset="0"/>
              <a:sym typeface="Segoe UI Semibold" panose="020B0702040204020203" pitchFamily="34" charset="0"/>
            </a:endParaRP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5BCFD79-ACCF-4415-ABDE-04E18E58FD42}"/>
              </a:ext>
            </a:extLst>
          </p:cNvPr>
          <p:cNvSpPr txBox="1">
            <a:spLocks/>
          </p:cNvSpPr>
          <p:nvPr/>
        </p:nvSpPr>
        <p:spPr bwMode="auto">
          <a:xfrm>
            <a:off x="269303" y="1436913"/>
            <a:ext cx="5237645" cy="2433979"/>
          </a:xfrm>
          <a:prstGeom prst="rect">
            <a:avLst/>
          </a:prstGeom>
          <a:noFill/>
        </p:spPr>
        <p:txBody>
          <a:bodyPr vert="horz" wrap="square" lIns="146304" tIns="91440" rIns="146304" bIns="91440" rtlCol="0" anchor="t" anchorCtr="0">
            <a:noAutofit/>
          </a:bodyPr>
          <a:lstStyle>
            <a:lvl1pPr algn="l" defTabSz="91436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98" baseline="0">
                <a:ln w="3175">
                  <a:noFill/>
                </a:ln>
                <a:solidFill>
                  <a:schemeClr val="bg1"/>
                </a:soli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 sz="4200" dirty="0"/>
              <a:t>Dynamics 365 Gap Solution Design Workshop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5865844A-B378-4D24-B7F0-B5D3709F5455}"/>
              </a:ext>
            </a:extLst>
          </p:cNvPr>
          <p:cNvSpPr txBox="1">
            <a:spLocks/>
          </p:cNvSpPr>
          <p:nvPr/>
        </p:nvSpPr>
        <p:spPr bwMode="auto">
          <a:xfrm>
            <a:off x="269303" y="4471518"/>
            <a:ext cx="3999517" cy="453773"/>
          </a:xfrm>
          <a:prstGeom prst="rect">
            <a:avLst/>
          </a:prstGeom>
        </p:spPr>
        <p:txBody>
          <a:bodyPr vert="horz" wrap="square" lIns="146304" tIns="109728" rIns="146304" bIns="109728" rtlCol="0">
            <a:noAutofit/>
          </a:bodyPr>
          <a:lstStyle>
            <a:lvl1pPr marL="0" marR="0" indent="0" algn="l" defTabSz="91436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 sz="3200" kern="1200" spc="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572691" marR="0" indent="-236546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2353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84338" marR="0" indent="-224097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1961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08435" marR="0" indent="-224097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1765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32531" marR="0" indent="-224097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1765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09" indent="-228592" algn="l" defTabSz="91436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93" indent="-228592" algn="l" defTabSz="91436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77" indent="-228592" algn="l" defTabSz="91436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61" indent="-228592" algn="l" defTabSz="91436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400" dirty="0">
                <a:cs typeface="Segoe UI Light" panose="020B0502040204020203" pitchFamily="34" charset="0"/>
              </a:rPr>
              <a:t>&lt;Name&gt;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462BDEC7-8E4D-4BB0-AE41-E45DF4D8E9FF}"/>
              </a:ext>
            </a:extLst>
          </p:cNvPr>
          <p:cNvSpPr txBox="1"/>
          <p:nvPr/>
        </p:nvSpPr>
        <p:spPr>
          <a:xfrm>
            <a:off x="405245" y="5966937"/>
            <a:ext cx="3408219" cy="544765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dirty="0">
                <a:solidFill>
                  <a:schemeClr val="bg1"/>
                </a:solidFill>
              </a:rPr>
              <a:t>24 August 2021</a:t>
            </a:r>
          </a:p>
        </p:txBody>
      </p:sp>
    </p:spTree>
    <p:extLst>
      <p:ext uri="{BB962C8B-B14F-4D97-AF65-F5344CB8AC3E}">
        <p14:creationId xmlns:p14="http://schemas.microsoft.com/office/powerpoint/2010/main" val="33003561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5010FE8-BF09-4146-B084-66CB05B66F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ext Steps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3EE3908A-E7B2-4491-9919-73E1BE3FA993}"/>
              </a:ext>
            </a:extLst>
          </p:cNvPr>
          <p:cNvSpPr/>
          <p:nvPr/>
        </p:nvSpPr>
        <p:spPr>
          <a:xfrm>
            <a:off x="506804" y="1895261"/>
            <a:ext cx="6168633" cy="52238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8640" rtlCol="0" anchor="ctr"/>
          <a:lstStyle/>
          <a:p>
            <a:r>
              <a:rPr lang="en-US" sz="1600">
                <a:solidFill>
                  <a:schemeClr val="tx1"/>
                </a:solidFill>
              </a:rPr>
              <a:t>Discuss next steps and action items.</a:t>
            </a:r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id="{5EB24ABA-7791-4106-98DF-BC19E22E4C9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457200" y="1993398"/>
            <a:ext cx="326112" cy="326112"/>
            <a:chOff x="115497" y="1864737"/>
            <a:chExt cx="461744" cy="461744"/>
          </a:xfrm>
          <a:solidFill>
            <a:schemeClr val="tx2"/>
          </a:solidFill>
        </p:grpSpPr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D6BC7BB6-3E3D-4013-9223-2902E1AC58E3}"/>
                </a:ext>
              </a:extLst>
            </p:cNvPr>
            <p:cNvSpPr/>
            <p:nvPr/>
          </p:nvSpPr>
          <p:spPr bwMode="auto">
            <a:xfrm>
              <a:off x="115497" y="1864737"/>
              <a:ext cx="461744" cy="461744"/>
            </a:xfrm>
            <a:custGeom>
              <a:avLst/>
              <a:gdLst>
                <a:gd name="connsiteX0" fmla="*/ 230872 w 461744"/>
                <a:gd name="connsiteY0" fmla="*/ 30738 h 461744"/>
                <a:gd name="connsiteX1" fmla="*/ 30738 w 461744"/>
                <a:gd name="connsiteY1" fmla="*/ 230872 h 461744"/>
                <a:gd name="connsiteX2" fmla="*/ 230872 w 461744"/>
                <a:gd name="connsiteY2" fmla="*/ 431006 h 461744"/>
                <a:gd name="connsiteX3" fmla="*/ 431006 w 461744"/>
                <a:gd name="connsiteY3" fmla="*/ 230872 h 461744"/>
                <a:gd name="connsiteX4" fmla="*/ 230872 w 461744"/>
                <a:gd name="connsiteY4" fmla="*/ 30738 h 461744"/>
                <a:gd name="connsiteX5" fmla="*/ 230872 w 461744"/>
                <a:gd name="connsiteY5" fmla="*/ 0 h 461744"/>
                <a:gd name="connsiteX6" fmla="*/ 461744 w 461744"/>
                <a:gd name="connsiteY6" fmla="*/ 230872 h 461744"/>
                <a:gd name="connsiteX7" fmla="*/ 230872 w 461744"/>
                <a:gd name="connsiteY7" fmla="*/ 461744 h 461744"/>
                <a:gd name="connsiteX8" fmla="*/ 0 w 461744"/>
                <a:gd name="connsiteY8" fmla="*/ 230872 h 461744"/>
                <a:gd name="connsiteX9" fmla="*/ 230872 w 461744"/>
                <a:gd name="connsiteY9" fmla="*/ 0 h 4617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61744" h="461744">
                  <a:moveTo>
                    <a:pt x="230872" y="30738"/>
                  </a:moveTo>
                  <a:cubicBezTo>
                    <a:pt x="120341" y="30738"/>
                    <a:pt x="30738" y="120341"/>
                    <a:pt x="30738" y="230872"/>
                  </a:cubicBezTo>
                  <a:cubicBezTo>
                    <a:pt x="30738" y="341403"/>
                    <a:pt x="120341" y="431006"/>
                    <a:pt x="230872" y="431006"/>
                  </a:cubicBezTo>
                  <a:cubicBezTo>
                    <a:pt x="341403" y="431006"/>
                    <a:pt x="431006" y="341403"/>
                    <a:pt x="431006" y="230872"/>
                  </a:cubicBezTo>
                  <a:cubicBezTo>
                    <a:pt x="431006" y="120341"/>
                    <a:pt x="341403" y="30738"/>
                    <a:pt x="230872" y="30738"/>
                  </a:cubicBezTo>
                  <a:close/>
                  <a:moveTo>
                    <a:pt x="230872" y="0"/>
                  </a:moveTo>
                  <a:cubicBezTo>
                    <a:pt x="358379" y="0"/>
                    <a:pt x="461744" y="103365"/>
                    <a:pt x="461744" y="230872"/>
                  </a:cubicBezTo>
                  <a:cubicBezTo>
                    <a:pt x="461744" y="358379"/>
                    <a:pt x="358379" y="461744"/>
                    <a:pt x="230872" y="461744"/>
                  </a:cubicBezTo>
                  <a:cubicBezTo>
                    <a:pt x="103365" y="461744"/>
                    <a:pt x="0" y="358379"/>
                    <a:pt x="0" y="230872"/>
                  </a:cubicBezTo>
                  <a:cubicBezTo>
                    <a:pt x="0" y="103365"/>
                    <a:pt x="103365" y="0"/>
                    <a:pt x="230872" y="0"/>
                  </a:cubicBezTo>
                  <a:close/>
                </a:path>
              </a:pathLst>
            </a:custGeom>
            <a:grpFill/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30" name="Graphic 77">
              <a:extLst>
                <a:ext uri="{FF2B5EF4-FFF2-40B4-BE49-F238E27FC236}">
                  <a16:creationId xmlns:a16="http://schemas.microsoft.com/office/drawing/2014/main" id="{7945BD11-124E-4F10-9642-9099F23D22A4}"/>
                </a:ext>
              </a:extLst>
            </p:cNvPr>
            <p:cNvSpPr/>
            <p:nvPr/>
          </p:nvSpPr>
          <p:spPr>
            <a:xfrm>
              <a:off x="230796" y="2004258"/>
              <a:ext cx="243074" cy="175239"/>
            </a:xfrm>
            <a:custGeom>
              <a:avLst/>
              <a:gdLst>
                <a:gd name="connsiteX0" fmla="*/ 349767 w 409575"/>
                <a:gd name="connsiteY0" fmla="*/ 0 h 295275"/>
                <a:gd name="connsiteX1" fmla="*/ 155475 w 409575"/>
                <a:gd name="connsiteY1" fmla="*/ 182790 h 295275"/>
                <a:gd name="connsiteX2" fmla="*/ 55043 w 409575"/>
                <a:gd name="connsiteY2" fmla="*/ 107415 h 295275"/>
                <a:gd name="connsiteX3" fmla="*/ 0 w 409575"/>
                <a:gd name="connsiteY3" fmla="*/ 181147 h 295275"/>
                <a:gd name="connsiteX4" fmla="*/ 131445 w 409575"/>
                <a:gd name="connsiteY4" fmla="*/ 279731 h 295275"/>
                <a:gd name="connsiteX5" fmla="*/ 163279 w 409575"/>
                <a:gd name="connsiteY5" fmla="*/ 303556 h 295275"/>
                <a:gd name="connsiteX6" fmla="*/ 191623 w 409575"/>
                <a:gd name="connsiteY6" fmla="*/ 275418 h 295275"/>
                <a:gd name="connsiteX7" fmla="*/ 415079 w 409575"/>
                <a:gd name="connsiteY7" fmla="*/ 65106 h 295275"/>
                <a:gd name="connsiteX8" fmla="*/ 349767 w 409575"/>
                <a:gd name="connsiteY8" fmla="*/ 0 h 295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09575" h="295275">
                  <a:moveTo>
                    <a:pt x="349767" y="0"/>
                  </a:moveTo>
                  <a:cubicBezTo>
                    <a:pt x="290526" y="59369"/>
                    <a:pt x="220475" y="120315"/>
                    <a:pt x="155475" y="182790"/>
                  </a:cubicBezTo>
                  <a:lnTo>
                    <a:pt x="55043" y="107415"/>
                  </a:lnTo>
                  <a:lnTo>
                    <a:pt x="0" y="181147"/>
                  </a:lnTo>
                  <a:lnTo>
                    <a:pt x="131445" y="279731"/>
                  </a:lnTo>
                  <a:lnTo>
                    <a:pt x="163279" y="303556"/>
                  </a:lnTo>
                  <a:lnTo>
                    <a:pt x="191623" y="275418"/>
                  </a:lnTo>
                  <a:cubicBezTo>
                    <a:pt x="259626" y="207269"/>
                    <a:pt x="342874" y="137467"/>
                    <a:pt x="415079" y="65106"/>
                  </a:cubicBezTo>
                  <a:lnTo>
                    <a:pt x="349767" y="0"/>
                  </a:lnTo>
                  <a:close/>
                </a:path>
              </a:pathLst>
            </a:custGeom>
            <a:grpFill/>
            <a:ln w="65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31" name="Rectangle 30">
            <a:extLst>
              <a:ext uri="{FF2B5EF4-FFF2-40B4-BE49-F238E27FC236}">
                <a16:creationId xmlns:a16="http://schemas.microsoft.com/office/drawing/2014/main" id="{A35E9EE8-3792-4935-BDF4-3CC3B6FBB0A0}"/>
              </a:ext>
            </a:extLst>
          </p:cNvPr>
          <p:cNvSpPr/>
          <p:nvPr/>
        </p:nvSpPr>
        <p:spPr>
          <a:xfrm>
            <a:off x="6810998" y="1895262"/>
            <a:ext cx="4923802" cy="461983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91440" rtlCol="0" anchor="t"/>
          <a:lstStyle/>
          <a:p>
            <a:pPr algn="ctr"/>
            <a:r>
              <a:rPr lang="en-US" sz="1600">
                <a:solidFill>
                  <a:schemeClr val="tx1"/>
                </a:solidFill>
              </a:rPr>
              <a:t>List next steps and action items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87A46D8A-4DC1-4337-8C6F-46DCD83BAF11}"/>
              </a:ext>
            </a:extLst>
          </p:cNvPr>
          <p:cNvSpPr/>
          <p:nvPr/>
        </p:nvSpPr>
        <p:spPr>
          <a:xfrm>
            <a:off x="8419249" y="0"/>
            <a:ext cx="3772751" cy="443365"/>
          </a:xfrm>
          <a:prstGeom prst="rect">
            <a:avLst/>
          </a:prstGeom>
          <a:solidFill>
            <a:schemeClr val="tx2"/>
          </a:solidFill>
          <a:ln w="31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defTabSz="932597">
              <a:defRPr/>
            </a:pPr>
            <a:r>
              <a:rPr lang="en-US" sz="2000">
                <a:solidFill>
                  <a:srgbClr val="FFC000"/>
                </a:solidFill>
                <a:latin typeface="+mj-lt"/>
              </a:rPr>
              <a:t>Customer slide (please update)</a:t>
            </a:r>
            <a:endParaRPr lang="en-US" sz="2000">
              <a:solidFill>
                <a:srgbClr val="FFC000"/>
              </a:solidFill>
              <a:latin typeface="+mj-lt"/>
              <a:cs typeface="Segoe UI Semibold"/>
            </a:endParaRPr>
          </a:p>
        </p:txBody>
      </p:sp>
    </p:spTree>
    <p:extLst>
      <p:ext uri="{BB962C8B-B14F-4D97-AF65-F5344CB8AC3E}">
        <p14:creationId xmlns:p14="http://schemas.microsoft.com/office/powerpoint/2010/main" val="26339775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B78DDF0-CAF9-4271-A223-FA28FF5AB10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8080" y="3084665"/>
            <a:ext cx="11655840" cy="899665"/>
          </a:xfrm>
        </p:spPr>
        <p:txBody>
          <a:bodyPr vert="horz" wrap="square" lIns="146304" tIns="91440" rIns="146304" bIns="91440" rtlCol="0" anchor="b">
            <a:noAutofit/>
          </a:bodyPr>
          <a:lstStyle/>
          <a:p>
            <a:r>
              <a:rPr lang="en-US" dirty="0"/>
              <a:t>Thank you.</a:t>
            </a:r>
          </a:p>
        </p:txBody>
      </p:sp>
    </p:spTree>
    <p:extLst>
      <p:ext uri="{BB962C8B-B14F-4D97-AF65-F5344CB8AC3E}">
        <p14:creationId xmlns:p14="http://schemas.microsoft.com/office/powerpoint/2010/main" val="11299339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5010FE8-BF09-4146-B084-66CB05B66F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Gap Solution Design Workshop Agenda</a:t>
            </a: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8550DF09-0D7B-4F8E-8ACF-13567A221AF3}"/>
              </a:ext>
            </a:extLst>
          </p:cNvPr>
          <p:cNvSpPr/>
          <p:nvPr/>
        </p:nvSpPr>
        <p:spPr>
          <a:xfrm>
            <a:off x="1500053" y="1374543"/>
            <a:ext cx="4621220" cy="47502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2880" tIns="91427" rIns="182880" rtlCol="0" anchor="t" anchorCtr="0"/>
          <a:lstStyle/>
          <a:p>
            <a:pPr lvl="0" defTabSz="914225"/>
            <a:r>
              <a:rPr lang="en-US" sz="2000">
                <a:ln w="3175">
                  <a:noFill/>
                </a:ln>
                <a:solidFill>
                  <a:srgbClr val="008272"/>
                </a:solidFill>
                <a:latin typeface="Segoe UI Semibold"/>
                <a:cs typeface="Segoe UI" pitchFamily="34" charset="0"/>
              </a:rPr>
              <a:t>Agenda</a:t>
            </a: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177907F9-2172-46A3-AEA0-8DD4122F217B}"/>
              </a:ext>
            </a:extLst>
          </p:cNvPr>
          <p:cNvSpPr/>
          <p:nvPr/>
        </p:nvSpPr>
        <p:spPr>
          <a:xfrm>
            <a:off x="6121273" y="1374543"/>
            <a:ext cx="5613527" cy="5140553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2880" tIns="182880" rIns="182880" bIns="182880" rtlCol="0" anchor="t"/>
          <a:lstStyle/>
          <a:p>
            <a:pPr defTabSz="932597"/>
            <a:r>
              <a:rPr lang="en-GB" sz="1600" b="0" i="0">
                <a:solidFill>
                  <a:srgbClr val="505050"/>
                </a:solidFill>
                <a:effectLst/>
                <a:latin typeface="Arial" panose="020B0604020202020204" pitchFamily="34" charset="0"/>
              </a:rPr>
              <a:t>The workshop reviews the top gaps in terms of complexity and potential risks.</a:t>
            </a:r>
            <a:endParaRPr lang="en-US" sz="1600">
              <a:solidFill>
                <a:srgbClr val="505050"/>
              </a:solidFill>
              <a:highlight>
                <a:srgbClr val="FFFF00"/>
              </a:highlight>
            </a:endParaRPr>
          </a:p>
        </p:txBody>
      </p:sp>
      <p:sp>
        <p:nvSpPr>
          <p:cNvPr id="42" name="Rectangle: Rounded Corners 14">
            <a:extLst>
              <a:ext uri="{FF2B5EF4-FFF2-40B4-BE49-F238E27FC236}">
                <a16:creationId xmlns:a16="http://schemas.microsoft.com/office/drawing/2014/main" id="{FCCFC8E7-228A-485F-B89E-E8B4B03CC68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405657" y="1762061"/>
            <a:ext cx="976312" cy="87504"/>
          </a:xfrm>
          <a:custGeom>
            <a:avLst/>
            <a:gdLst>
              <a:gd name="connsiteX0" fmla="*/ 0 w 1168400"/>
              <a:gd name="connsiteY0" fmla="*/ 104721 h 209442"/>
              <a:gd name="connsiteX1" fmla="*/ 104721 w 1168400"/>
              <a:gd name="connsiteY1" fmla="*/ 0 h 209442"/>
              <a:gd name="connsiteX2" fmla="*/ 1063679 w 1168400"/>
              <a:gd name="connsiteY2" fmla="*/ 0 h 209442"/>
              <a:gd name="connsiteX3" fmla="*/ 1168400 w 1168400"/>
              <a:gd name="connsiteY3" fmla="*/ 104721 h 209442"/>
              <a:gd name="connsiteX4" fmla="*/ 1168400 w 1168400"/>
              <a:gd name="connsiteY4" fmla="*/ 104721 h 209442"/>
              <a:gd name="connsiteX5" fmla="*/ 1063679 w 1168400"/>
              <a:gd name="connsiteY5" fmla="*/ 209442 h 209442"/>
              <a:gd name="connsiteX6" fmla="*/ 104721 w 1168400"/>
              <a:gd name="connsiteY6" fmla="*/ 209442 h 209442"/>
              <a:gd name="connsiteX7" fmla="*/ 0 w 1168400"/>
              <a:gd name="connsiteY7" fmla="*/ 104721 h 209442"/>
              <a:gd name="connsiteX0" fmla="*/ 0 w 1168400"/>
              <a:gd name="connsiteY0" fmla="*/ 104721 h 209442"/>
              <a:gd name="connsiteX1" fmla="*/ 104721 w 1168400"/>
              <a:gd name="connsiteY1" fmla="*/ 0 h 209442"/>
              <a:gd name="connsiteX2" fmla="*/ 1063679 w 1168400"/>
              <a:gd name="connsiteY2" fmla="*/ 0 h 209442"/>
              <a:gd name="connsiteX3" fmla="*/ 1168400 w 1168400"/>
              <a:gd name="connsiteY3" fmla="*/ 104721 h 209442"/>
              <a:gd name="connsiteX4" fmla="*/ 1168400 w 1168400"/>
              <a:gd name="connsiteY4" fmla="*/ 104721 h 209442"/>
              <a:gd name="connsiteX5" fmla="*/ 1063679 w 1168400"/>
              <a:gd name="connsiteY5" fmla="*/ 209442 h 209442"/>
              <a:gd name="connsiteX6" fmla="*/ 104721 w 1168400"/>
              <a:gd name="connsiteY6" fmla="*/ 209442 h 209442"/>
              <a:gd name="connsiteX7" fmla="*/ 91440 w 1168400"/>
              <a:gd name="connsiteY7" fmla="*/ 196161 h 209442"/>
              <a:gd name="connsiteX0" fmla="*/ 0 w 1168400"/>
              <a:gd name="connsiteY0" fmla="*/ 104721 h 209442"/>
              <a:gd name="connsiteX1" fmla="*/ 104721 w 1168400"/>
              <a:gd name="connsiteY1" fmla="*/ 0 h 209442"/>
              <a:gd name="connsiteX2" fmla="*/ 1063679 w 1168400"/>
              <a:gd name="connsiteY2" fmla="*/ 0 h 209442"/>
              <a:gd name="connsiteX3" fmla="*/ 1168400 w 1168400"/>
              <a:gd name="connsiteY3" fmla="*/ 104721 h 209442"/>
              <a:gd name="connsiteX4" fmla="*/ 1168400 w 1168400"/>
              <a:gd name="connsiteY4" fmla="*/ 104721 h 209442"/>
              <a:gd name="connsiteX5" fmla="*/ 1063679 w 1168400"/>
              <a:gd name="connsiteY5" fmla="*/ 209442 h 209442"/>
              <a:gd name="connsiteX6" fmla="*/ 104721 w 1168400"/>
              <a:gd name="connsiteY6" fmla="*/ 209442 h 209442"/>
              <a:gd name="connsiteX0" fmla="*/ 0 w 1168400"/>
              <a:gd name="connsiteY0" fmla="*/ 104721 h 209442"/>
              <a:gd name="connsiteX1" fmla="*/ 104721 w 1168400"/>
              <a:gd name="connsiteY1" fmla="*/ 0 h 209442"/>
              <a:gd name="connsiteX2" fmla="*/ 1063679 w 1168400"/>
              <a:gd name="connsiteY2" fmla="*/ 0 h 209442"/>
              <a:gd name="connsiteX3" fmla="*/ 1168400 w 1168400"/>
              <a:gd name="connsiteY3" fmla="*/ 104721 h 209442"/>
              <a:gd name="connsiteX4" fmla="*/ 1168400 w 1168400"/>
              <a:gd name="connsiteY4" fmla="*/ 104721 h 209442"/>
              <a:gd name="connsiteX5" fmla="*/ 1063679 w 1168400"/>
              <a:gd name="connsiteY5" fmla="*/ 209442 h 209442"/>
              <a:gd name="connsiteX0" fmla="*/ 0 w 1168400"/>
              <a:gd name="connsiteY0" fmla="*/ 104721 h 104721"/>
              <a:gd name="connsiteX1" fmla="*/ 104721 w 1168400"/>
              <a:gd name="connsiteY1" fmla="*/ 0 h 104721"/>
              <a:gd name="connsiteX2" fmla="*/ 1063679 w 1168400"/>
              <a:gd name="connsiteY2" fmla="*/ 0 h 104721"/>
              <a:gd name="connsiteX3" fmla="*/ 1168400 w 1168400"/>
              <a:gd name="connsiteY3" fmla="*/ 104721 h 104721"/>
              <a:gd name="connsiteX4" fmla="*/ 1168400 w 1168400"/>
              <a:gd name="connsiteY4" fmla="*/ 104721 h 1047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68400" h="104721">
                <a:moveTo>
                  <a:pt x="0" y="104721"/>
                </a:moveTo>
                <a:cubicBezTo>
                  <a:pt x="0" y="46885"/>
                  <a:pt x="46885" y="0"/>
                  <a:pt x="104721" y="0"/>
                </a:cubicBezTo>
                <a:lnTo>
                  <a:pt x="1063679" y="0"/>
                </a:lnTo>
                <a:cubicBezTo>
                  <a:pt x="1121515" y="0"/>
                  <a:pt x="1168400" y="46885"/>
                  <a:pt x="1168400" y="104721"/>
                </a:cubicBezTo>
                <a:lnTo>
                  <a:pt x="1168400" y="104721"/>
                </a:lnTo>
              </a:path>
            </a:pathLst>
          </a:custGeom>
          <a:solidFill>
            <a:schemeClr val="tx1">
              <a:lumMod val="60000"/>
              <a:lumOff val="4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id="{5906ADDC-D360-4A0F-91FF-B494A9B96AC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1494318" y="1349375"/>
            <a:ext cx="0" cy="494513"/>
          </a:xfrm>
          <a:prstGeom prst="line">
            <a:avLst/>
          </a:prstGeom>
          <a:solidFill>
            <a:schemeClr val="bg1"/>
          </a:solidFill>
          <a:ln w="317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44" name="Straight Connector 43">
            <a:extLst>
              <a:ext uri="{FF2B5EF4-FFF2-40B4-BE49-F238E27FC236}">
                <a16:creationId xmlns:a16="http://schemas.microsoft.com/office/drawing/2014/main" id="{4A8E8564-839D-4D78-B946-D71D10D7FB4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1" y="1858175"/>
            <a:ext cx="6121272" cy="0"/>
          </a:xfrm>
          <a:prstGeom prst="line">
            <a:avLst/>
          </a:prstGeom>
          <a:ln w="2857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Straight Connector 45">
            <a:extLst>
              <a:ext uri="{FF2B5EF4-FFF2-40B4-BE49-F238E27FC236}">
                <a16:creationId xmlns:a16="http://schemas.microsoft.com/office/drawing/2014/main" id="{FB913BBF-6FE9-4291-9E49-F6769461052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457200" y="2451213"/>
            <a:ext cx="5664073" cy="0"/>
          </a:xfrm>
          <a:prstGeom prst="line">
            <a:avLst/>
          </a:prstGeom>
          <a:noFill/>
          <a:ln w="3175">
            <a:solidFill>
              <a:schemeClr val="bg1">
                <a:lumMod val="85000"/>
              </a:schemeClr>
            </a:solidFill>
            <a:prstDash val="dash"/>
          </a:ln>
        </p:spPr>
      </p:cxnSp>
      <p:cxnSp>
        <p:nvCxnSpPr>
          <p:cNvPr id="47" name="Straight Connector 46">
            <a:extLst>
              <a:ext uri="{FF2B5EF4-FFF2-40B4-BE49-F238E27FC236}">
                <a16:creationId xmlns:a16="http://schemas.microsoft.com/office/drawing/2014/main" id="{C8DEDC1E-B9F9-418B-93EA-03CEE8A48BB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457200" y="3040727"/>
            <a:ext cx="5664073" cy="0"/>
          </a:xfrm>
          <a:prstGeom prst="line">
            <a:avLst/>
          </a:prstGeom>
          <a:noFill/>
          <a:ln w="3175">
            <a:solidFill>
              <a:schemeClr val="bg1">
                <a:lumMod val="85000"/>
              </a:schemeClr>
            </a:solidFill>
            <a:prstDash val="dash"/>
          </a:ln>
        </p:spPr>
      </p:cxn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F03F52E1-9D12-4CD8-9AFB-DF3694F8E8D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467038" y="3644033"/>
            <a:ext cx="5664073" cy="0"/>
          </a:xfrm>
          <a:prstGeom prst="line">
            <a:avLst/>
          </a:prstGeom>
          <a:noFill/>
          <a:ln w="3175">
            <a:solidFill>
              <a:schemeClr val="bg1">
                <a:lumMod val="85000"/>
              </a:schemeClr>
            </a:solidFill>
            <a:prstDash val="dash"/>
          </a:ln>
        </p:spPr>
      </p:cxnSp>
      <p:cxnSp>
        <p:nvCxnSpPr>
          <p:cNvPr id="52" name="Straight Connector 51">
            <a:extLst>
              <a:ext uri="{FF2B5EF4-FFF2-40B4-BE49-F238E27FC236}">
                <a16:creationId xmlns:a16="http://schemas.microsoft.com/office/drawing/2014/main" id="{721FE680-81D2-484D-B86E-D8BCF74079F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467038" y="4233547"/>
            <a:ext cx="5664073" cy="0"/>
          </a:xfrm>
          <a:prstGeom prst="line">
            <a:avLst/>
          </a:prstGeom>
          <a:noFill/>
          <a:ln w="3175">
            <a:solidFill>
              <a:schemeClr val="bg1">
                <a:lumMod val="85000"/>
              </a:schemeClr>
            </a:solidFill>
            <a:prstDash val="dash"/>
          </a:ln>
        </p:spPr>
      </p:cxnSp>
      <p:cxnSp>
        <p:nvCxnSpPr>
          <p:cNvPr id="53" name="Straight Connector 52">
            <a:extLst>
              <a:ext uri="{FF2B5EF4-FFF2-40B4-BE49-F238E27FC236}">
                <a16:creationId xmlns:a16="http://schemas.microsoft.com/office/drawing/2014/main" id="{76FF7EC1-B2EB-4DC5-B055-C580BB6B516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467038" y="4823061"/>
            <a:ext cx="5664073" cy="0"/>
          </a:xfrm>
          <a:prstGeom prst="line">
            <a:avLst/>
          </a:prstGeom>
          <a:noFill/>
          <a:ln w="3175">
            <a:solidFill>
              <a:schemeClr val="bg1">
                <a:lumMod val="85000"/>
              </a:schemeClr>
            </a:solidFill>
            <a:prstDash val="dash"/>
          </a:ln>
        </p:spPr>
      </p:cxnSp>
      <p:grpSp>
        <p:nvGrpSpPr>
          <p:cNvPr id="54" name="Group 53">
            <a:extLst>
              <a:ext uri="{FF2B5EF4-FFF2-40B4-BE49-F238E27FC236}">
                <a16:creationId xmlns:a16="http://schemas.microsoft.com/office/drawing/2014/main" id="{E3151547-6629-4A30-85D7-9026BFEC7DB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432000" y="1895263"/>
            <a:ext cx="5613527" cy="522386"/>
            <a:chOff x="506805" y="1895263"/>
            <a:chExt cx="5613527" cy="522386"/>
          </a:xfrm>
        </p:grpSpPr>
        <p:sp>
          <p:nvSpPr>
            <p:cNvPr id="55" name="Rectangle 54">
              <a:extLst>
                <a:ext uri="{FF2B5EF4-FFF2-40B4-BE49-F238E27FC236}">
                  <a16:creationId xmlns:a16="http://schemas.microsoft.com/office/drawing/2014/main" id="{D909AFD3-772D-428E-8735-D3CC0F3F9928}"/>
                </a:ext>
              </a:extLst>
            </p:cNvPr>
            <p:cNvSpPr/>
            <p:nvPr/>
          </p:nvSpPr>
          <p:spPr>
            <a:xfrm>
              <a:off x="506805" y="1895263"/>
              <a:ext cx="5613527" cy="522386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05936" rtlCol="0" anchor="ctr"/>
            <a:lstStyle/>
            <a:p>
              <a:r>
                <a:rPr lang="en-GB" sz="1600">
                  <a:solidFill>
                    <a:schemeClr val="tx1"/>
                  </a:solidFill>
                </a:rPr>
                <a:t>Identify and review the main gap requirements</a:t>
              </a:r>
              <a:endParaRPr lang="en-GB" sz="1600">
                <a:solidFill>
                  <a:schemeClr val="tx1"/>
                </a:solidFill>
                <a:highlight>
                  <a:srgbClr val="FFFF00"/>
                </a:highlight>
              </a:endParaRPr>
            </a:p>
          </p:txBody>
        </p:sp>
        <p:grpSp>
          <p:nvGrpSpPr>
            <p:cNvPr id="56" name="Group 55">
              <a:extLst>
                <a:ext uri="{FF2B5EF4-FFF2-40B4-BE49-F238E27FC236}">
                  <a16:creationId xmlns:a16="http://schemas.microsoft.com/office/drawing/2014/main" id="{343C8747-F64E-4A18-A94A-9D3F8224370C}"/>
                </a:ext>
              </a:extLst>
            </p:cNvPr>
            <p:cNvGrpSpPr/>
            <p:nvPr/>
          </p:nvGrpSpPr>
          <p:grpSpPr>
            <a:xfrm>
              <a:off x="730757" y="1993400"/>
              <a:ext cx="326112" cy="326112"/>
              <a:chOff x="115497" y="1864737"/>
              <a:chExt cx="461744" cy="461744"/>
            </a:xfrm>
            <a:solidFill>
              <a:schemeClr val="tx2"/>
            </a:solidFill>
          </p:grpSpPr>
          <p:sp>
            <p:nvSpPr>
              <p:cNvPr id="57" name="Freeform: Shape 56">
                <a:extLst>
                  <a:ext uri="{FF2B5EF4-FFF2-40B4-BE49-F238E27FC236}">
                    <a16:creationId xmlns:a16="http://schemas.microsoft.com/office/drawing/2014/main" id="{9A72F8EA-291F-4570-84D1-25DC141B48F8}"/>
                  </a:ext>
                </a:extLst>
              </p:cNvPr>
              <p:cNvSpPr/>
              <p:nvPr/>
            </p:nvSpPr>
            <p:spPr bwMode="auto">
              <a:xfrm>
                <a:off x="115497" y="1864737"/>
                <a:ext cx="461744" cy="461744"/>
              </a:xfrm>
              <a:custGeom>
                <a:avLst/>
                <a:gdLst>
                  <a:gd name="connsiteX0" fmla="*/ 230872 w 461744"/>
                  <a:gd name="connsiteY0" fmla="*/ 30738 h 461744"/>
                  <a:gd name="connsiteX1" fmla="*/ 30738 w 461744"/>
                  <a:gd name="connsiteY1" fmla="*/ 230872 h 461744"/>
                  <a:gd name="connsiteX2" fmla="*/ 230872 w 461744"/>
                  <a:gd name="connsiteY2" fmla="*/ 431006 h 461744"/>
                  <a:gd name="connsiteX3" fmla="*/ 431006 w 461744"/>
                  <a:gd name="connsiteY3" fmla="*/ 230872 h 461744"/>
                  <a:gd name="connsiteX4" fmla="*/ 230872 w 461744"/>
                  <a:gd name="connsiteY4" fmla="*/ 30738 h 461744"/>
                  <a:gd name="connsiteX5" fmla="*/ 230872 w 461744"/>
                  <a:gd name="connsiteY5" fmla="*/ 0 h 461744"/>
                  <a:gd name="connsiteX6" fmla="*/ 461744 w 461744"/>
                  <a:gd name="connsiteY6" fmla="*/ 230872 h 461744"/>
                  <a:gd name="connsiteX7" fmla="*/ 230872 w 461744"/>
                  <a:gd name="connsiteY7" fmla="*/ 461744 h 461744"/>
                  <a:gd name="connsiteX8" fmla="*/ 0 w 461744"/>
                  <a:gd name="connsiteY8" fmla="*/ 230872 h 461744"/>
                  <a:gd name="connsiteX9" fmla="*/ 230872 w 461744"/>
                  <a:gd name="connsiteY9" fmla="*/ 0 h 4617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61744" h="461744">
                    <a:moveTo>
                      <a:pt x="230872" y="30738"/>
                    </a:moveTo>
                    <a:cubicBezTo>
                      <a:pt x="120341" y="30738"/>
                      <a:pt x="30738" y="120341"/>
                      <a:pt x="30738" y="230872"/>
                    </a:cubicBezTo>
                    <a:cubicBezTo>
                      <a:pt x="30738" y="341403"/>
                      <a:pt x="120341" y="431006"/>
                      <a:pt x="230872" y="431006"/>
                    </a:cubicBezTo>
                    <a:cubicBezTo>
                      <a:pt x="341403" y="431006"/>
                      <a:pt x="431006" y="341403"/>
                      <a:pt x="431006" y="230872"/>
                    </a:cubicBezTo>
                    <a:cubicBezTo>
                      <a:pt x="431006" y="120341"/>
                      <a:pt x="341403" y="30738"/>
                      <a:pt x="230872" y="30738"/>
                    </a:cubicBezTo>
                    <a:close/>
                    <a:moveTo>
                      <a:pt x="230872" y="0"/>
                    </a:moveTo>
                    <a:cubicBezTo>
                      <a:pt x="358379" y="0"/>
                      <a:pt x="461744" y="103365"/>
                      <a:pt x="461744" y="230872"/>
                    </a:cubicBezTo>
                    <a:cubicBezTo>
                      <a:pt x="461744" y="358379"/>
                      <a:pt x="358379" y="461744"/>
                      <a:pt x="230872" y="461744"/>
                    </a:cubicBezTo>
                    <a:cubicBezTo>
                      <a:pt x="103365" y="461744"/>
                      <a:pt x="0" y="358379"/>
                      <a:pt x="0" y="230872"/>
                    </a:cubicBezTo>
                    <a:cubicBezTo>
                      <a:pt x="0" y="103365"/>
                      <a:pt x="103365" y="0"/>
                      <a:pt x="230872" y="0"/>
                    </a:cubicBezTo>
                    <a:close/>
                  </a:path>
                </a:pathLst>
              </a:custGeom>
              <a:grpFill/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240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58" name="Graphic 77">
                <a:extLst>
                  <a:ext uri="{FF2B5EF4-FFF2-40B4-BE49-F238E27FC236}">
                    <a16:creationId xmlns:a16="http://schemas.microsoft.com/office/drawing/2014/main" id="{9A88097F-834B-41ED-84A6-F60654AB22D0}"/>
                  </a:ext>
                </a:extLst>
              </p:cNvPr>
              <p:cNvSpPr/>
              <p:nvPr/>
            </p:nvSpPr>
            <p:spPr>
              <a:xfrm>
                <a:off x="230796" y="2004258"/>
                <a:ext cx="243074" cy="175239"/>
              </a:xfrm>
              <a:custGeom>
                <a:avLst/>
                <a:gdLst>
                  <a:gd name="connsiteX0" fmla="*/ 349767 w 409575"/>
                  <a:gd name="connsiteY0" fmla="*/ 0 h 295275"/>
                  <a:gd name="connsiteX1" fmla="*/ 155475 w 409575"/>
                  <a:gd name="connsiteY1" fmla="*/ 182790 h 295275"/>
                  <a:gd name="connsiteX2" fmla="*/ 55043 w 409575"/>
                  <a:gd name="connsiteY2" fmla="*/ 107415 h 295275"/>
                  <a:gd name="connsiteX3" fmla="*/ 0 w 409575"/>
                  <a:gd name="connsiteY3" fmla="*/ 181147 h 295275"/>
                  <a:gd name="connsiteX4" fmla="*/ 131445 w 409575"/>
                  <a:gd name="connsiteY4" fmla="*/ 279731 h 295275"/>
                  <a:gd name="connsiteX5" fmla="*/ 163279 w 409575"/>
                  <a:gd name="connsiteY5" fmla="*/ 303556 h 295275"/>
                  <a:gd name="connsiteX6" fmla="*/ 191623 w 409575"/>
                  <a:gd name="connsiteY6" fmla="*/ 275418 h 295275"/>
                  <a:gd name="connsiteX7" fmla="*/ 415079 w 409575"/>
                  <a:gd name="connsiteY7" fmla="*/ 65106 h 295275"/>
                  <a:gd name="connsiteX8" fmla="*/ 349767 w 409575"/>
                  <a:gd name="connsiteY8" fmla="*/ 0 h 2952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09575" h="295275">
                    <a:moveTo>
                      <a:pt x="349767" y="0"/>
                    </a:moveTo>
                    <a:cubicBezTo>
                      <a:pt x="290526" y="59369"/>
                      <a:pt x="220475" y="120315"/>
                      <a:pt x="155475" y="182790"/>
                    </a:cubicBezTo>
                    <a:lnTo>
                      <a:pt x="55043" y="107415"/>
                    </a:lnTo>
                    <a:lnTo>
                      <a:pt x="0" y="181147"/>
                    </a:lnTo>
                    <a:lnTo>
                      <a:pt x="131445" y="279731"/>
                    </a:lnTo>
                    <a:lnTo>
                      <a:pt x="163279" y="303556"/>
                    </a:lnTo>
                    <a:lnTo>
                      <a:pt x="191623" y="275418"/>
                    </a:lnTo>
                    <a:cubicBezTo>
                      <a:pt x="259626" y="207269"/>
                      <a:pt x="342874" y="137467"/>
                      <a:pt x="415079" y="65106"/>
                    </a:cubicBezTo>
                    <a:lnTo>
                      <a:pt x="349767" y="0"/>
                    </a:lnTo>
                    <a:close/>
                  </a:path>
                </a:pathLst>
              </a:custGeom>
              <a:grpFill/>
              <a:ln w="657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grpSp>
        <p:nvGrpSpPr>
          <p:cNvPr id="59" name="Group 58">
            <a:extLst>
              <a:ext uri="{FF2B5EF4-FFF2-40B4-BE49-F238E27FC236}">
                <a16:creationId xmlns:a16="http://schemas.microsoft.com/office/drawing/2014/main" id="{77ACF46A-463D-47C7-864A-28AF0D80B0C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432000" y="2484777"/>
            <a:ext cx="5613527" cy="522386"/>
            <a:chOff x="506805" y="2480613"/>
            <a:chExt cx="5613527" cy="522386"/>
          </a:xfrm>
        </p:grpSpPr>
        <p:sp>
          <p:nvSpPr>
            <p:cNvPr id="60" name="Rectangle 59">
              <a:extLst>
                <a:ext uri="{FF2B5EF4-FFF2-40B4-BE49-F238E27FC236}">
                  <a16:creationId xmlns:a16="http://schemas.microsoft.com/office/drawing/2014/main" id="{1F0B6B51-41D8-4F93-878F-BACE5D1A7680}"/>
                </a:ext>
              </a:extLst>
            </p:cNvPr>
            <p:cNvSpPr/>
            <p:nvPr/>
          </p:nvSpPr>
          <p:spPr>
            <a:xfrm>
              <a:off x="506805" y="2480613"/>
              <a:ext cx="5613527" cy="522386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05936" rtlCol="0" anchor="ctr"/>
            <a:lstStyle/>
            <a:p>
              <a:r>
                <a:rPr lang="en-GB" sz="1600">
                  <a:solidFill>
                    <a:schemeClr val="tx1"/>
                  </a:solidFill>
                </a:rPr>
                <a:t>Discuss proposed solution for each selected gap</a:t>
              </a:r>
            </a:p>
          </p:txBody>
        </p:sp>
        <p:grpSp>
          <p:nvGrpSpPr>
            <p:cNvPr id="61" name="Group 60">
              <a:extLst>
                <a:ext uri="{FF2B5EF4-FFF2-40B4-BE49-F238E27FC236}">
                  <a16:creationId xmlns:a16="http://schemas.microsoft.com/office/drawing/2014/main" id="{B49BE7D1-9561-4827-9078-39A70C6194FC}"/>
                </a:ext>
              </a:extLst>
            </p:cNvPr>
            <p:cNvGrpSpPr/>
            <p:nvPr/>
          </p:nvGrpSpPr>
          <p:grpSpPr>
            <a:xfrm>
              <a:off x="730757" y="2578750"/>
              <a:ext cx="326112" cy="326112"/>
              <a:chOff x="115497" y="1864737"/>
              <a:chExt cx="461744" cy="461744"/>
            </a:xfrm>
            <a:solidFill>
              <a:schemeClr val="tx2"/>
            </a:solidFill>
          </p:grpSpPr>
          <p:sp>
            <p:nvSpPr>
              <p:cNvPr id="62" name="Freeform: Shape 61">
                <a:extLst>
                  <a:ext uri="{FF2B5EF4-FFF2-40B4-BE49-F238E27FC236}">
                    <a16:creationId xmlns:a16="http://schemas.microsoft.com/office/drawing/2014/main" id="{915A3C2A-BC9A-43BD-88E3-EE63266915B6}"/>
                  </a:ext>
                </a:extLst>
              </p:cNvPr>
              <p:cNvSpPr/>
              <p:nvPr/>
            </p:nvSpPr>
            <p:spPr bwMode="auto">
              <a:xfrm>
                <a:off x="115497" y="1864737"/>
                <a:ext cx="461744" cy="461744"/>
              </a:xfrm>
              <a:custGeom>
                <a:avLst/>
                <a:gdLst>
                  <a:gd name="connsiteX0" fmla="*/ 230872 w 461744"/>
                  <a:gd name="connsiteY0" fmla="*/ 30738 h 461744"/>
                  <a:gd name="connsiteX1" fmla="*/ 30738 w 461744"/>
                  <a:gd name="connsiteY1" fmla="*/ 230872 h 461744"/>
                  <a:gd name="connsiteX2" fmla="*/ 230872 w 461744"/>
                  <a:gd name="connsiteY2" fmla="*/ 431006 h 461744"/>
                  <a:gd name="connsiteX3" fmla="*/ 431006 w 461744"/>
                  <a:gd name="connsiteY3" fmla="*/ 230872 h 461744"/>
                  <a:gd name="connsiteX4" fmla="*/ 230872 w 461744"/>
                  <a:gd name="connsiteY4" fmla="*/ 30738 h 461744"/>
                  <a:gd name="connsiteX5" fmla="*/ 230872 w 461744"/>
                  <a:gd name="connsiteY5" fmla="*/ 0 h 461744"/>
                  <a:gd name="connsiteX6" fmla="*/ 461744 w 461744"/>
                  <a:gd name="connsiteY6" fmla="*/ 230872 h 461744"/>
                  <a:gd name="connsiteX7" fmla="*/ 230872 w 461744"/>
                  <a:gd name="connsiteY7" fmla="*/ 461744 h 461744"/>
                  <a:gd name="connsiteX8" fmla="*/ 0 w 461744"/>
                  <a:gd name="connsiteY8" fmla="*/ 230872 h 461744"/>
                  <a:gd name="connsiteX9" fmla="*/ 230872 w 461744"/>
                  <a:gd name="connsiteY9" fmla="*/ 0 h 4617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61744" h="461744">
                    <a:moveTo>
                      <a:pt x="230872" y="30738"/>
                    </a:moveTo>
                    <a:cubicBezTo>
                      <a:pt x="120341" y="30738"/>
                      <a:pt x="30738" y="120341"/>
                      <a:pt x="30738" y="230872"/>
                    </a:cubicBezTo>
                    <a:cubicBezTo>
                      <a:pt x="30738" y="341403"/>
                      <a:pt x="120341" y="431006"/>
                      <a:pt x="230872" y="431006"/>
                    </a:cubicBezTo>
                    <a:cubicBezTo>
                      <a:pt x="341403" y="431006"/>
                      <a:pt x="431006" y="341403"/>
                      <a:pt x="431006" y="230872"/>
                    </a:cubicBezTo>
                    <a:cubicBezTo>
                      <a:pt x="431006" y="120341"/>
                      <a:pt x="341403" y="30738"/>
                      <a:pt x="230872" y="30738"/>
                    </a:cubicBezTo>
                    <a:close/>
                    <a:moveTo>
                      <a:pt x="230872" y="0"/>
                    </a:moveTo>
                    <a:cubicBezTo>
                      <a:pt x="358379" y="0"/>
                      <a:pt x="461744" y="103365"/>
                      <a:pt x="461744" y="230872"/>
                    </a:cubicBezTo>
                    <a:cubicBezTo>
                      <a:pt x="461744" y="358379"/>
                      <a:pt x="358379" y="461744"/>
                      <a:pt x="230872" y="461744"/>
                    </a:cubicBezTo>
                    <a:cubicBezTo>
                      <a:pt x="103365" y="461744"/>
                      <a:pt x="0" y="358379"/>
                      <a:pt x="0" y="230872"/>
                    </a:cubicBezTo>
                    <a:cubicBezTo>
                      <a:pt x="0" y="103365"/>
                      <a:pt x="103365" y="0"/>
                      <a:pt x="230872" y="0"/>
                    </a:cubicBezTo>
                    <a:close/>
                  </a:path>
                </a:pathLst>
              </a:custGeom>
              <a:grpFill/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240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63" name="Graphic 77">
                <a:extLst>
                  <a:ext uri="{FF2B5EF4-FFF2-40B4-BE49-F238E27FC236}">
                    <a16:creationId xmlns:a16="http://schemas.microsoft.com/office/drawing/2014/main" id="{30FA6A06-94D8-41F5-A50E-579C83314429}"/>
                  </a:ext>
                </a:extLst>
              </p:cNvPr>
              <p:cNvSpPr/>
              <p:nvPr/>
            </p:nvSpPr>
            <p:spPr>
              <a:xfrm>
                <a:off x="230796" y="2004258"/>
                <a:ext cx="243074" cy="175239"/>
              </a:xfrm>
              <a:custGeom>
                <a:avLst/>
                <a:gdLst>
                  <a:gd name="connsiteX0" fmla="*/ 349767 w 409575"/>
                  <a:gd name="connsiteY0" fmla="*/ 0 h 295275"/>
                  <a:gd name="connsiteX1" fmla="*/ 155475 w 409575"/>
                  <a:gd name="connsiteY1" fmla="*/ 182790 h 295275"/>
                  <a:gd name="connsiteX2" fmla="*/ 55043 w 409575"/>
                  <a:gd name="connsiteY2" fmla="*/ 107415 h 295275"/>
                  <a:gd name="connsiteX3" fmla="*/ 0 w 409575"/>
                  <a:gd name="connsiteY3" fmla="*/ 181147 h 295275"/>
                  <a:gd name="connsiteX4" fmla="*/ 131445 w 409575"/>
                  <a:gd name="connsiteY4" fmla="*/ 279731 h 295275"/>
                  <a:gd name="connsiteX5" fmla="*/ 163279 w 409575"/>
                  <a:gd name="connsiteY5" fmla="*/ 303556 h 295275"/>
                  <a:gd name="connsiteX6" fmla="*/ 191623 w 409575"/>
                  <a:gd name="connsiteY6" fmla="*/ 275418 h 295275"/>
                  <a:gd name="connsiteX7" fmla="*/ 415079 w 409575"/>
                  <a:gd name="connsiteY7" fmla="*/ 65106 h 295275"/>
                  <a:gd name="connsiteX8" fmla="*/ 349767 w 409575"/>
                  <a:gd name="connsiteY8" fmla="*/ 0 h 2952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09575" h="295275">
                    <a:moveTo>
                      <a:pt x="349767" y="0"/>
                    </a:moveTo>
                    <a:cubicBezTo>
                      <a:pt x="290526" y="59369"/>
                      <a:pt x="220475" y="120315"/>
                      <a:pt x="155475" y="182790"/>
                    </a:cubicBezTo>
                    <a:lnTo>
                      <a:pt x="55043" y="107415"/>
                    </a:lnTo>
                    <a:lnTo>
                      <a:pt x="0" y="181147"/>
                    </a:lnTo>
                    <a:lnTo>
                      <a:pt x="131445" y="279731"/>
                    </a:lnTo>
                    <a:lnTo>
                      <a:pt x="163279" y="303556"/>
                    </a:lnTo>
                    <a:lnTo>
                      <a:pt x="191623" y="275418"/>
                    </a:lnTo>
                    <a:cubicBezTo>
                      <a:pt x="259626" y="207269"/>
                      <a:pt x="342874" y="137467"/>
                      <a:pt x="415079" y="65106"/>
                    </a:cubicBezTo>
                    <a:lnTo>
                      <a:pt x="349767" y="0"/>
                    </a:lnTo>
                    <a:close/>
                  </a:path>
                </a:pathLst>
              </a:custGeom>
              <a:grpFill/>
              <a:ln w="657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grpSp>
        <p:nvGrpSpPr>
          <p:cNvPr id="69" name="Group 68">
            <a:extLst>
              <a:ext uri="{FF2B5EF4-FFF2-40B4-BE49-F238E27FC236}">
                <a16:creationId xmlns:a16="http://schemas.microsoft.com/office/drawing/2014/main" id="{199D9518-4245-48DA-AFDC-44848BB4C33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441838" y="3088083"/>
            <a:ext cx="5613527" cy="522386"/>
            <a:chOff x="506805" y="3651313"/>
            <a:chExt cx="5613527" cy="522386"/>
          </a:xfrm>
        </p:grpSpPr>
        <p:sp>
          <p:nvSpPr>
            <p:cNvPr id="70" name="Rectangle 69">
              <a:extLst>
                <a:ext uri="{FF2B5EF4-FFF2-40B4-BE49-F238E27FC236}">
                  <a16:creationId xmlns:a16="http://schemas.microsoft.com/office/drawing/2014/main" id="{1CE81B94-64B5-49BC-8A00-1B321C123F69}"/>
                </a:ext>
              </a:extLst>
            </p:cNvPr>
            <p:cNvSpPr/>
            <p:nvPr/>
          </p:nvSpPr>
          <p:spPr>
            <a:xfrm>
              <a:off x="506805" y="3651313"/>
              <a:ext cx="5613527" cy="522386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05936" rtlCol="0" anchor="ctr"/>
            <a:lstStyle/>
            <a:p>
              <a:r>
                <a:rPr lang="en-GB" sz="1600">
                  <a:solidFill>
                    <a:schemeClr val="tx1"/>
                  </a:solidFill>
                </a:rPr>
                <a:t>Identify and discuss any potential risks</a:t>
              </a:r>
            </a:p>
          </p:txBody>
        </p:sp>
        <p:grpSp>
          <p:nvGrpSpPr>
            <p:cNvPr id="71" name="Group 70">
              <a:extLst>
                <a:ext uri="{FF2B5EF4-FFF2-40B4-BE49-F238E27FC236}">
                  <a16:creationId xmlns:a16="http://schemas.microsoft.com/office/drawing/2014/main" id="{628EF100-B47D-4AE2-B379-E928FBF5CBF8}"/>
                </a:ext>
              </a:extLst>
            </p:cNvPr>
            <p:cNvGrpSpPr/>
            <p:nvPr/>
          </p:nvGrpSpPr>
          <p:grpSpPr>
            <a:xfrm>
              <a:off x="730757" y="3749450"/>
              <a:ext cx="326112" cy="326112"/>
              <a:chOff x="115497" y="1864737"/>
              <a:chExt cx="461744" cy="461744"/>
            </a:xfrm>
            <a:solidFill>
              <a:schemeClr val="tx2"/>
            </a:solidFill>
          </p:grpSpPr>
          <p:sp>
            <p:nvSpPr>
              <p:cNvPr id="72" name="Freeform: Shape 71">
                <a:extLst>
                  <a:ext uri="{FF2B5EF4-FFF2-40B4-BE49-F238E27FC236}">
                    <a16:creationId xmlns:a16="http://schemas.microsoft.com/office/drawing/2014/main" id="{95D38F1C-5C55-4873-BE66-20E7BE3E2EDC}"/>
                  </a:ext>
                </a:extLst>
              </p:cNvPr>
              <p:cNvSpPr/>
              <p:nvPr/>
            </p:nvSpPr>
            <p:spPr bwMode="auto">
              <a:xfrm>
                <a:off x="115497" y="1864737"/>
                <a:ext cx="461744" cy="461744"/>
              </a:xfrm>
              <a:custGeom>
                <a:avLst/>
                <a:gdLst>
                  <a:gd name="connsiteX0" fmla="*/ 230872 w 461744"/>
                  <a:gd name="connsiteY0" fmla="*/ 30738 h 461744"/>
                  <a:gd name="connsiteX1" fmla="*/ 30738 w 461744"/>
                  <a:gd name="connsiteY1" fmla="*/ 230872 h 461744"/>
                  <a:gd name="connsiteX2" fmla="*/ 230872 w 461744"/>
                  <a:gd name="connsiteY2" fmla="*/ 431006 h 461744"/>
                  <a:gd name="connsiteX3" fmla="*/ 431006 w 461744"/>
                  <a:gd name="connsiteY3" fmla="*/ 230872 h 461744"/>
                  <a:gd name="connsiteX4" fmla="*/ 230872 w 461744"/>
                  <a:gd name="connsiteY4" fmla="*/ 30738 h 461744"/>
                  <a:gd name="connsiteX5" fmla="*/ 230872 w 461744"/>
                  <a:gd name="connsiteY5" fmla="*/ 0 h 461744"/>
                  <a:gd name="connsiteX6" fmla="*/ 461744 w 461744"/>
                  <a:gd name="connsiteY6" fmla="*/ 230872 h 461744"/>
                  <a:gd name="connsiteX7" fmla="*/ 230872 w 461744"/>
                  <a:gd name="connsiteY7" fmla="*/ 461744 h 461744"/>
                  <a:gd name="connsiteX8" fmla="*/ 0 w 461744"/>
                  <a:gd name="connsiteY8" fmla="*/ 230872 h 461744"/>
                  <a:gd name="connsiteX9" fmla="*/ 230872 w 461744"/>
                  <a:gd name="connsiteY9" fmla="*/ 0 h 4617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61744" h="461744">
                    <a:moveTo>
                      <a:pt x="230872" y="30738"/>
                    </a:moveTo>
                    <a:cubicBezTo>
                      <a:pt x="120341" y="30738"/>
                      <a:pt x="30738" y="120341"/>
                      <a:pt x="30738" y="230872"/>
                    </a:cubicBezTo>
                    <a:cubicBezTo>
                      <a:pt x="30738" y="341403"/>
                      <a:pt x="120341" y="431006"/>
                      <a:pt x="230872" y="431006"/>
                    </a:cubicBezTo>
                    <a:cubicBezTo>
                      <a:pt x="341403" y="431006"/>
                      <a:pt x="431006" y="341403"/>
                      <a:pt x="431006" y="230872"/>
                    </a:cubicBezTo>
                    <a:cubicBezTo>
                      <a:pt x="431006" y="120341"/>
                      <a:pt x="341403" y="30738"/>
                      <a:pt x="230872" y="30738"/>
                    </a:cubicBezTo>
                    <a:close/>
                    <a:moveTo>
                      <a:pt x="230872" y="0"/>
                    </a:moveTo>
                    <a:cubicBezTo>
                      <a:pt x="358379" y="0"/>
                      <a:pt x="461744" y="103365"/>
                      <a:pt x="461744" y="230872"/>
                    </a:cubicBezTo>
                    <a:cubicBezTo>
                      <a:pt x="461744" y="358379"/>
                      <a:pt x="358379" y="461744"/>
                      <a:pt x="230872" y="461744"/>
                    </a:cubicBezTo>
                    <a:cubicBezTo>
                      <a:pt x="103365" y="461744"/>
                      <a:pt x="0" y="358379"/>
                      <a:pt x="0" y="230872"/>
                    </a:cubicBezTo>
                    <a:cubicBezTo>
                      <a:pt x="0" y="103365"/>
                      <a:pt x="103365" y="0"/>
                      <a:pt x="230872" y="0"/>
                    </a:cubicBezTo>
                    <a:close/>
                  </a:path>
                </a:pathLst>
              </a:custGeom>
              <a:grpFill/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240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73" name="Graphic 77">
                <a:extLst>
                  <a:ext uri="{FF2B5EF4-FFF2-40B4-BE49-F238E27FC236}">
                    <a16:creationId xmlns:a16="http://schemas.microsoft.com/office/drawing/2014/main" id="{E24498CF-9BEE-4E44-B585-1F75DC58AE6B}"/>
                  </a:ext>
                </a:extLst>
              </p:cNvPr>
              <p:cNvSpPr/>
              <p:nvPr/>
            </p:nvSpPr>
            <p:spPr>
              <a:xfrm>
                <a:off x="230796" y="2004258"/>
                <a:ext cx="243074" cy="175239"/>
              </a:xfrm>
              <a:custGeom>
                <a:avLst/>
                <a:gdLst>
                  <a:gd name="connsiteX0" fmla="*/ 349767 w 409575"/>
                  <a:gd name="connsiteY0" fmla="*/ 0 h 295275"/>
                  <a:gd name="connsiteX1" fmla="*/ 155475 w 409575"/>
                  <a:gd name="connsiteY1" fmla="*/ 182790 h 295275"/>
                  <a:gd name="connsiteX2" fmla="*/ 55043 w 409575"/>
                  <a:gd name="connsiteY2" fmla="*/ 107415 h 295275"/>
                  <a:gd name="connsiteX3" fmla="*/ 0 w 409575"/>
                  <a:gd name="connsiteY3" fmla="*/ 181147 h 295275"/>
                  <a:gd name="connsiteX4" fmla="*/ 131445 w 409575"/>
                  <a:gd name="connsiteY4" fmla="*/ 279731 h 295275"/>
                  <a:gd name="connsiteX5" fmla="*/ 163279 w 409575"/>
                  <a:gd name="connsiteY5" fmla="*/ 303556 h 295275"/>
                  <a:gd name="connsiteX6" fmla="*/ 191623 w 409575"/>
                  <a:gd name="connsiteY6" fmla="*/ 275418 h 295275"/>
                  <a:gd name="connsiteX7" fmla="*/ 415079 w 409575"/>
                  <a:gd name="connsiteY7" fmla="*/ 65106 h 295275"/>
                  <a:gd name="connsiteX8" fmla="*/ 349767 w 409575"/>
                  <a:gd name="connsiteY8" fmla="*/ 0 h 2952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09575" h="295275">
                    <a:moveTo>
                      <a:pt x="349767" y="0"/>
                    </a:moveTo>
                    <a:cubicBezTo>
                      <a:pt x="290526" y="59369"/>
                      <a:pt x="220475" y="120315"/>
                      <a:pt x="155475" y="182790"/>
                    </a:cubicBezTo>
                    <a:lnTo>
                      <a:pt x="55043" y="107415"/>
                    </a:lnTo>
                    <a:lnTo>
                      <a:pt x="0" y="181147"/>
                    </a:lnTo>
                    <a:lnTo>
                      <a:pt x="131445" y="279731"/>
                    </a:lnTo>
                    <a:lnTo>
                      <a:pt x="163279" y="303556"/>
                    </a:lnTo>
                    <a:lnTo>
                      <a:pt x="191623" y="275418"/>
                    </a:lnTo>
                    <a:cubicBezTo>
                      <a:pt x="259626" y="207269"/>
                      <a:pt x="342874" y="137467"/>
                      <a:pt x="415079" y="65106"/>
                    </a:cubicBezTo>
                    <a:lnTo>
                      <a:pt x="349767" y="0"/>
                    </a:lnTo>
                    <a:close/>
                  </a:path>
                </a:pathLst>
              </a:custGeom>
              <a:grpFill/>
              <a:ln w="657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grpSp>
        <p:nvGrpSpPr>
          <p:cNvPr id="84" name="Group 83">
            <a:extLst>
              <a:ext uri="{FF2B5EF4-FFF2-40B4-BE49-F238E27FC236}">
                <a16:creationId xmlns:a16="http://schemas.microsoft.com/office/drawing/2014/main" id="{95831B84-1C17-4A14-9584-93D7C92B4AC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441838" y="4856625"/>
            <a:ext cx="5613527" cy="522386"/>
            <a:chOff x="506805" y="5407363"/>
            <a:chExt cx="5613527" cy="522386"/>
          </a:xfrm>
        </p:grpSpPr>
        <p:sp>
          <p:nvSpPr>
            <p:cNvPr id="85" name="Rectangle 84">
              <a:extLst>
                <a:ext uri="{FF2B5EF4-FFF2-40B4-BE49-F238E27FC236}">
                  <a16:creationId xmlns:a16="http://schemas.microsoft.com/office/drawing/2014/main" id="{8DE2201B-869B-46E1-9DBD-5685B60F9033}"/>
                </a:ext>
              </a:extLst>
            </p:cNvPr>
            <p:cNvSpPr/>
            <p:nvPr/>
          </p:nvSpPr>
          <p:spPr>
            <a:xfrm>
              <a:off x="506805" y="5407363"/>
              <a:ext cx="5613527" cy="522386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05936" rtlCol="0" anchor="ctr"/>
            <a:lstStyle/>
            <a:p>
              <a:r>
                <a:rPr lang="en-GB" sz="1600">
                  <a:solidFill>
                    <a:schemeClr val="tx1"/>
                  </a:solidFill>
                </a:rPr>
                <a:t>Q&amp;A</a:t>
              </a:r>
            </a:p>
          </p:txBody>
        </p:sp>
        <p:grpSp>
          <p:nvGrpSpPr>
            <p:cNvPr id="86" name="Group 85">
              <a:extLst>
                <a:ext uri="{FF2B5EF4-FFF2-40B4-BE49-F238E27FC236}">
                  <a16:creationId xmlns:a16="http://schemas.microsoft.com/office/drawing/2014/main" id="{B2369DA4-97F3-49AA-A7F8-1E5CFA46923C}"/>
                </a:ext>
              </a:extLst>
            </p:cNvPr>
            <p:cNvGrpSpPr/>
            <p:nvPr/>
          </p:nvGrpSpPr>
          <p:grpSpPr>
            <a:xfrm>
              <a:off x="730757" y="5505500"/>
              <a:ext cx="326112" cy="326112"/>
              <a:chOff x="115497" y="1864737"/>
              <a:chExt cx="461744" cy="461744"/>
            </a:xfrm>
            <a:solidFill>
              <a:schemeClr val="tx2"/>
            </a:solidFill>
          </p:grpSpPr>
          <p:sp>
            <p:nvSpPr>
              <p:cNvPr id="87" name="Freeform: Shape 86">
                <a:extLst>
                  <a:ext uri="{FF2B5EF4-FFF2-40B4-BE49-F238E27FC236}">
                    <a16:creationId xmlns:a16="http://schemas.microsoft.com/office/drawing/2014/main" id="{907CCD18-B526-49B1-B2D6-EC23F8940C59}"/>
                  </a:ext>
                </a:extLst>
              </p:cNvPr>
              <p:cNvSpPr/>
              <p:nvPr/>
            </p:nvSpPr>
            <p:spPr bwMode="auto">
              <a:xfrm>
                <a:off x="115497" y="1864737"/>
                <a:ext cx="461744" cy="461744"/>
              </a:xfrm>
              <a:custGeom>
                <a:avLst/>
                <a:gdLst>
                  <a:gd name="connsiteX0" fmla="*/ 230872 w 461744"/>
                  <a:gd name="connsiteY0" fmla="*/ 30738 h 461744"/>
                  <a:gd name="connsiteX1" fmla="*/ 30738 w 461744"/>
                  <a:gd name="connsiteY1" fmla="*/ 230872 h 461744"/>
                  <a:gd name="connsiteX2" fmla="*/ 230872 w 461744"/>
                  <a:gd name="connsiteY2" fmla="*/ 431006 h 461744"/>
                  <a:gd name="connsiteX3" fmla="*/ 431006 w 461744"/>
                  <a:gd name="connsiteY3" fmla="*/ 230872 h 461744"/>
                  <a:gd name="connsiteX4" fmla="*/ 230872 w 461744"/>
                  <a:gd name="connsiteY4" fmla="*/ 30738 h 461744"/>
                  <a:gd name="connsiteX5" fmla="*/ 230872 w 461744"/>
                  <a:gd name="connsiteY5" fmla="*/ 0 h 461744"/>
                  <a:gd name="connsiteX6" fmla="*/ 461744 w 461744"/>
                  <a:gd name="connsiteY6" fmla="*/ 230872 h 461744"/>
                  <a:gd name="connsiteX7" fmla="*/ 230872 w 461744"/>
                  <a:gd name="connsiteY7" fmla="*/ 461744 h 461744"/>
                  <a:gd name="connsiteX8" fmla="*/ 0 w 461744"/>
                  <a:gd name="connsiteY8" fmla="*/ 230872 h 461744"/>
                  <a:gd name="connsiteX9" fmla="*/ 230872 w 461744"/>
                  <a:gd name="connsiteY9" fmla="*/ 0 h 4617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61744" h="461744">
                    <a:moveTo>
                      <a:pt x="230872" y="30738"/>
                    </a:moveTo>
                    <a:cubicBezTo>
                      <a:pt x="120341" y="30738"/>
                      <a:pt x="30738" y="120341"/>
                      <a:pt x="30738" y="230872"/>
                    </a:cubicBezTo>
                    <a:cubicBezTo>
                      <a:pt x="30738" y="341403"/>
                      <a:pt x="120341" y="431006"/>
                      <a:pt x="230872" y="431006"/>
                    </a:cubicBezTo>
                    <a:cubicBezTo>
                      <a:pt x="341403" y="431006"/>
                      <a:pt x="431006" y="341403"/>
                      <a:pt x="431006" y="230872"/>
                    </a:cubicBezTo>
                    <a:cubicBezTo>
                      <a:pt x="431006" y="120341"/>
                      <a:pt x="341403" y="30738"/>
                      <a:pt x="230872" y="30738"/>
                    </a:cubicBezTo>
                    <a:close/>
                    <a:moveTo>
                      <a:pt x="230872" y="0"/>
                    </a:moveTo>
                    <a:cubicBezTo>
                      <a:pt x="358379" y="0"/>
                      <a:pt x="461744" y="103365"/>
                      <a:pt x="461744" y="230872"/>
                    </a:cubicBezTo>
                    <a:cubicBezTo>
                      <a:pt x="461744" y="358379"/>
                      <a:pt x="358379" y="461744"/>
                      <a:pt x="230872" y="461744"/>
                    </a:cubicBezTo>
                    <a:cubicBezTo>
                      <a:pt x="103365" y="461744"/>
                      <a:pt x="0" y="358379"/>
                      <a:pt x="0" y="230872"/>
                    </a:cubicBezTo>
                    <a:cubicBezTo>
                      <a:pt x="0" y="103365"/>
                      <a:pt x="103365" y="0"/>
                      <a:pt x="230872" y="0"/>
                    </a:cubicBezTo>
                    <a:close/>
                  </a:path>
                </a:pathLst>
              </a:custGeom>
              <a:grpFill/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240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88" name="Graphic 77">
                <a:extLst>
                  <a:ext uri="{FF2B5EF4-FFF2-40B4-BE49-F238E27FC236}">
                    <a16:creationId xmlns:a16="http://schemas.microsoft.com/office/drawing/2014/main" id="{B87852BE-A84F-43C9-9B66-6661E3928140}"/>
                  </a:ext>
                </a:extLst>
              </p:cNvPr>
              <p:cNvSpPr/>
              <p:nvPr/>
            </p:nvSpPr>
            <p:spPr>
              <a:xfrm>
                <a:off x="230796" y="2004258"/>
                <a:ext cx="243074" cy="175239"/>
              </a:xfrm>
              <a:custGeom>
                <a:avLst/>
                <a:gdLst>
                  <a:gd name="connsiteX0" fmla="*/ 349767 w 409575"/>
                  <a:gd name="connsiteY0" fmla="*/ 0 h 295275"/>
                  <a:gd name="connsiteX1" fmla="*/ 155475 w 409575"/>
                  <a:gd name="connsiteY1" fmla="*/ 182790 h 295275"/>
                  <a:gd name="connsiteX2" fmla="*/ 55043 w 409575"/>
                  <a:gd name="connsiteY2" fmla="*/ 107415 h 295275"/>
                  <a:gd name="connsiteX3" fmla="*/ 0 w 409575"/>
                  <a:gd name="connsiteY3" fmla="*/ 181147 h 295275"/>
                  <a:gd name="connsiteX4" fmla="*/ 131445 w 409575"/>
                  <a:gd name="connsiteY4" fmla="*/ 279731 h 295275"/>
                  <a:gd name="connsiteX5" fmla="*/ 163279 w 409575"/>
                  <a:gd name="connsiteY5" fmla="*/ 303556 h 295275"/>
                  <a:gd name="connsiteX6" fmla="*/ 191623 w 409575"/>
                  <a:gd name="connsiteY6" fmla="*/ 275418 h 295275"/>
                  <a:gd name="connsiteX7" fmla="*/ 415079 w 409575"/>
                  <a:gd name="connsiteY7" fmla="*/ 65106 h 295275"/>
                  <a:gd name="connsiteX8" fmla="*/ 349767 w 409575"/>
                  <a:gd name="connsiteY8" fmla="*/ 0 h 2952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09575" h="295275">
                    <a:moveTo>
                      <a:pt x="349767" y="0"/>
                    </a:moveTo>
                    <a:cubicBezTo>
                      <a:pt x="290526" y="59369"/>
                      <a:pt x="220475" y="120315"/>
                      <a:pt x="155475" y="182790"/>
                    </a:cubicBezTo>
                    <a:lnTo>
                      <a:pt x="55043" y="107415"/>
                    </a:lnTo>
                    <a:lnTo>
                      <a:pt x="0" y="181147"/>
                    </a:lnTo>
                    <a:lnTo>
                      <a:pt x="131445" y="279731"/>
                    </a:lnTo>
                    <a:lnTo>
                      <a:pt x="163279" y="303556"/>
                    </a:lnTo>
                    <a:lnTo>
                      <a:pt x="191623" y="275418"/>
                    </a:lnTo>
                    <a:cubicBezTo>
                      <a:pt x="259626" y="207269"/>
                      <a:pt x="342874" y="137467"/>
                      <a:pt x="415079" y="65106"/>
                    </a:cubicBezTo>
                    <a:lnTo>
                      <a:pt x="349767" y="0"/>
                    </a:lnTo>
                    <a:close/>
                  </a:path>
                </a:pathLst>
              </a:custGeom>
              <a:grpFill/>
              <a:ln w="657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89" name="Rectangle 88">
            <a:extLst>
              <a:ext uri="{FF2B5EF4-FFF2-40B4-BE49-F238E27FC236}">
                <a16:creationId xmlns:a16="http://schemas.microsoft.com/office/drawing/2014/main" id="{429D1AB2-FD1C-420E-91FC-D03A20DC1B8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6121273" y="1211265"/>
            <a:ext cx="5613527" cy="163278"/>
          </a:xfrm>
          <a:prstGeom prst="rect">
            <a:avLst/>
          </a:prstGeom>
          <a:solidFill>
            <a:schemeClr val="tx2"/>
          </a:solidFill>
          <a:ln w="31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932597">
              <a:defRPr/>
            </a:pPr>
            <a:endParaRPr lang="en-US" sz="1600">
              <a:solidFill>
                <a:schemeClr val="bg1"/>
              </a:solidFill>
              <a:latin typeface="+mj-lt"/>
            </a:endParaRPr>
          </a:p>
        </p:txBody>
      </p:sp>
      <p:grpSp>
        <p:nvGrpSpPr>
          <p:cNvPr id="90" name="Group 89">
            <a:extLst>
              <a:ext uri="{FF2B5EF4-FFF2-40B4-BE49-F238E27FC236}">
                <a16:creationId xmlns:a16="http://schemas.microsoft.com/office/drawing/2014/main" id="{AB4443CD-27CA-4DBD-A805-FB445344CC7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6472302" y="2709126"/>
            <a:ext cx="809756" cy="809754"/>
            <a:chOff x="6456428" y="2720976"/>
            <a:chExt cx="917704" cy="917702"/>
          </a:xfrm>
        </p:grpSpPr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F71E6BB8-F6B2-4A70-9C26-62A830F5F11B}"/>
                </a:ext>
              </a:extLst>
            </p:cNvPr>
            <p:cNvSpPr/>
            <p:nvPr/>
          </p:nvSpPr>
          <p:spPr bwMode="auto">
            <a:xfrm>
              <a:off x="6456428" y="2720976"/>
              <a:ext cx="917704" cy="917702"/>
            </a:xfrm>
            <a:custGeom>
              <a:avLst/>
              <a:gdLst>
                <a:gd name="connsiteX0" fmla="*/ 458852 w 917704"/>
                <a:gd name="connsiteY0" fmla="*/ 33532 h 917702"/>
                <a:gd name="connsiteX1" fmla="*/ 33532 w 917704"/>
                <a:gd name="connsiteY1" fmla="*/ 458851 h 917702"/>
                <a:gd name="connsiteX2" fmla="*/ 458852 w 917704"/>
                <a:gd name="connsiteY2" fmla="*/ 884170 h 917702"/>
                <a:gd name="connsiteX3" fmla="*/ 884172 w 917704"/>
                <a:gd name="connsiteY3" fmla="*/ 458851 h 917702"/>
                <a:gd name="connsiteX4" fmla="*/ 458852 w 917704"/>
                <a:gd name="connsiteY4" fmla="*/ 33532 h 917702"/>
                <a:gd name="connsiteX5" fmla="*/ 458852 w 917704"/>
                <a:gd name="connsiteY5" fmla="*/ 0 h 917702"/>
                <a:gd name="connsiteX6" fmla="*/ 917704 w 917704"/>
                <a:gd name="connsiteY6" fmla="*/ 458851 h 917702"/>
                <a:gd name="connsiteX7" fmla="*/ 458852 w 917704"/>
                <a:gd name="connsiteY7" fmla="*/ 917702 h 917702"/>
                <a:gd name="connsiteX8" fmla="*/ 0 w 917704"/>
                <a:gd name="connsiteY8" fmla="*/ 458851 h 917702"/>
                <a:gd name="connsiteX9" fmla="*/ 458852 w 917704"/>
                <a:gd name="connsiteY9" fmla="*/ 0 h 9177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917704" h="917702">
                  <a:moveTo>
                    <a:pt x="458852" y="33532"/>
                  </a:moveTo>
                  <a:cubicBezTo>
                    <a:pt x="223954" y="33532"/>
                    <a:pt x="33532" y="223954"/>
                    <a:pt x="33532" y="458851"/>
                  </a:cubicBezTo>
                  <a:cubicBezTo>
                    <a:pt x="33532" y="693748"/>
                    <a:pt x="223954" y="884170"/>
                    <a:pt x="458852" y="884170"/>
                  </a:cubicBezTo>
                  <a:cubicBezTo>
                    <a:pt x="693750" y="884170"/>
                    <a:pt x="884172" y="693748"/>
                    <a:pt x="884172" y="458851"/>
                  </a:cubicBezTo>
                  <a:cubicBezTo>
                    <a:pt x="884172" y="223954"/>
                    <a:pt x="693750" y="33532"/>
                    <a:pt x="458852" y="33532"/>
                  </a:cubicBezTo>
                  <a:close/>
                  <a:moveTo>
                    <a:pt x="458852" y="0"/>
                  </a:moveTo>
                  <a:cubicBezTo>
                    <a:pt x="712269" y="0"/>
                    <a:pt x="917704" y="205435"/>
                    <a:pt x="917704" y="458851"/>
                  </a:cubicBezTo>
                  <a:cubicBezTo>
                    <a:pt x="917704" y="712267"/>
                    <a:pt x="712269" y="917702"/>
                    <a:pt x="458852" y="917702"/>
                  </a:cubicBezTo>
                  <a:cubicBezTo>
                    <a:pt x="205435" y="917702"/>
                    <a:pt x="0" y="712267"/>
                    <a:pt x="0" y="458851"/>
                  </a:cubicBezTo>
                  <a:cubicBezTo>
                    <a:pt x="0" y="205435"/>
                    <a:pt x="205435" y="0"/>
                    <a:pt x="458852" y="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92" name="Freeform 8">
              <a:extLst>
                <a:ext uri="{FF2B5EF4-FFF2-40B4-BE49-F238E27FC236}">
                  <a16:creationId xmlns:a16="http://schemas.microsoft.com/office/drawing/2014/main" id="{6BDC5852-9503-4CDA-B807-61D5949A5EBC}"/>
                </a:ext>
              </a:extLst>
            </p:cNvPr>
            <p:cNvSpPr>
              <a:spLocks/>
            </p:cNvSpPr>
            <p:nvPr/>
          </p:nvSpPr>
          <p:spPr bwMode="auto">
            <a:xfrm rot="10800000" flipH="1">
              <a:off x="6678730" y="3009901"/>
              <a:ext cx="473100" cy="339852"/>
            </a:xfrm>
            <a:custGeom>
              <a:avLst/>
              <a:gdLst>
                <a:gd name="T0" fmla="*/ 85 w 231"/>
                <a:gd name="T1" fmla="*/ 0 h 170"/>
                <a:gd name="T2" fmla="*/ 152 w 231"/>
                <a:gd name="T3" fmla="*/ 61 h 170"/>
                <a:gd name="T4" fmla="*/ 0 w 231"/>
                <a:gd name="T5" fmla="*/ 61 h 170"/>
                <a:gd name="T6" fmla="*/ 0 w 231"/>
                <a:gd name="T7" fmla="*/ 105 h 170"/>
                <a:gd name="T8" fmla="*/ 152 w 231"/>
                <a:gd name="T9" fmla="*/ 105 h 170"/>
                <a:gd name="T10" fmla="*/ 85 w 231"/>
                <a:gd name="T11" fmla="*/ 170 h 170"/>
                <a:gd name="T12" fmla="*/ 140 w 231"/>
                <a:gd name="T13" fmla="*/ 170 h 170"/>
                <a:gd name="T14" fmla="*/ 231 w 231"/>
                <a:gd name="T15" fmla="*/ 85 h 170"/>
                <a:gd name="T16" fmla="*/ 140 w 231"/>
                <a:gd name="T17" fmla="*/ 0 h 170"/>
                <a:gd name="T18" fmla="*/ 85 w 231"/>
                <a:gd name="T19" fmla="*/ 0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31" h="170">
                  <a:moveTo>
                    <a:pt x="85" y="0"/>
                  </a:moveTo>
                  <a:cubicBezTo>
                    <a:pt x="85" y="0"/>
                    <a:pt x="85" y="0"/>
                    <a:pt x="152" y="61"/>
                  </a:cubicBezTo>
                  <a:cubicBezTo>
                    <a:pt x="0" y="61"/>
                    <a:pt x="0" y="61"/>
                    <a:pt x="0" y="61"/>
                  </a:cubicBezTo>
                  <a:cubicBezTo>
                    <a:pt x="0" y="61"/>
                    <a:pt x="0" y="61"/>
                    <a:pt x="0" y="105"/>
                  </a:cubicBezTo>
                  <a:cubicBezTo>
                    <a:pt x="0" y="105"/>
                    <a:pt x="0" y="105"/>
                    <a:pt x="152" y="105"/>
                  </a:cubicBezTo>
                  <a:cubicBezTo>
                    <a:pt x="152" y="105"/>
                    <a:pt x="152" y="105"/>
                    <a:pt x="85" y="170"/>
                  </a:cubicBezTo>
                  <a:cubicBezTo>
                    <a:pt x="85" y="170"/>
                    <a:pt x="85" y="170"/>
                    <a:pt x="140" y="170"/>
                  </a:cubicBezTo>
                  <a:cubicBezTo>
                    <a:pt x="140" y="170"/>
                    <a:pt x="140" y="170"/>
                    <a:pt x="231" y="85"/>
                  </a:cubicBezTo>
                  <a:cubicBezTo>
                    <a:pt x="231" y="85"/>
                    <a:pt x="231" y="85"/>
                    <a:pt x="140" y="0"/>
                  </a:cubicBezTo>
                  <a:cubicBezTo>
                    <a:pt x="140" y="0"/>
                    <a:pt x="140" y="0"/>
                    <a:pt x="85" y="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FFFFFF"/>
                </a:solidFill>
              </a:endParaRPr>
            </a:p>
          </p:txBody>
        </p:sp>
      </p:grpSp>
      <p:grpSp>
        <p:nvGrpSpPr>
          <p:cNvPr id="93" name="Group 92">
            <a:extLst>
              <a:ext uri="{FF2B5EF4-FFF2-40B4-BE49-F238E27FC236}">
                <a16:creationId xmlns:a16="http://schemas.microsoft.com/office/drawing/2014/main" id="{5E1CA762-CB82-429E-89B2-E95C130A0A2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650727" y="1143371"/>
            <a:ext cx="497036" cy="499600"/>
            <a:chOff x="8121835" y="4193647"/>
            <a:chExt cx="847725" cy="852101"/>
          </a:xfrm>
        </p:grpSpPr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435EF289-2D65-4F5A-B305-094781357BB8}"/>
                </a:ext>
              </a:extLst>
            </p:cNvPr>
            <p:cNvSpPr/>
            <p:nvPr/>
          </p:nvSpPr>
          <p:spPr>
            <a:xfrm>
              <a:off x="8121835" y="4242767"/>
              <a:ext cx="847725" cy="152400"/>
            </a:xfrm>
            <a:custGeom>
              <a:avLst/>
              <a:gdLst>
                <a:gd name="connsiteX0" fmla="*/ 826296 w 847725"/>
                <a:gd name="connsiteY0" fmla="*/ 0 h 152400"/>
                <a:gd name="connsiteX1" fmla="*/ 738024 w 847725"/>
                <a:gd name="connsiteY1" fmla="*/ 0 h 152400"/>
                <a:gd name="connsiteX2" fmla="*/ 738024 w 847725"/>
                <a:gd name="connsiteY2" fmla="*/ 58298 h 152400"/>
                <a:gd name="connsiteX3" fmla="*/ 710224 w 847725"/>
                <a:gd name="connsiteY3" fmla="*/ 86096 h 152400"/>
                <a:gd name="connsiteX4" fmla="*/ 682423 w 847725"/>
                <a:gd name="connsiteY4" fmla="*/ 58298 h 152400"/>
                <a:gd name="connsiteX5" fmla="*/ 682423 w 847725"/>
                <a:gd name="connsiteY5" fmla="*/ 0 h 152400"/>
                <a:gd name="connsiteX6" fmla="*/ 549318 w 847725"/>
                <a:gd name="connsiteY6" fmla="*/ 0 h 152400"/>
                <a:gd name="connsiteX7" fmla="*/ 549318 w 847725"/>
                <a:gd name="connsiteY7" fmla="*/ 58298 h 152400"/>
                <a:gd name="connsiteX8" fmla="*/ 521516 w 847725"/>
                <a:gd name="connsiteY8" fmla="*/ 86096 h 152400"/>
                <a:gd name="connsiteX9" fmla="*/ 493718 w 847725"/>
                <a:gd name="connsiteY9" fmla="*/ 58298 h 152400"/>
                <a:gd name="connsiteX10" fmla="*/ 493718 w 847725"/>
                <a:gd name="connsiteY10" fmla="*/ 0 h 152400"/>
                <a:gd name="connsiteX11" fmla="*/ 360611 w 847725"/>
                <a:gd name="connsiteY11" fmla="*/ 0 h 152400"/>
                <a:gd name="connsiteX12" fmla="*/ 360611 w 847725"/>
                <a:gd name="connsiteY12" fmla="*/ 58298 h 152400"/>
                <a:gd name="connsiteX13" fmla="*/ 332809 w 847725"/>
                <a:gd name="connsiteY13" fmla="*/ 86096 h 152400"/>
                <a:gd name="connsiteX14" fmla="*/ 305011 w 847725"/>
                <a:gd name="connsiteY14" fmla="*/ 58298 h 152400"/>
                <a:gd name="connsiteX15" fmla="*/ 305011 w 847725"/>
                <a:gd name="connsiteY15" fmla="*/ 0 h 152400"/>
                <a:gd name="connsiteX16" fmla="*/ 171904 w 847725"/>
                <a:gd name="connsiteY16" fmla="*/ 0 h 152400"/>
                <a:gd name="connsiteX17" fmla="*/ 171904 w 847725"/>
                <a:gd name="connsiteY17" fmla="*/ 58298 h 152400"/>
                <a:gd name="connsiteX18" fmla="*/ 144106 w 847725"/>
                <a:gd name="connsiteY18" fmla="*/ 86096 h 152400"/>
                <a:gd name="connsiteX19" fmla="*/ 116304 w 847725"/>
                <a:gd name="connsiteY19" fmla="*/ 58298 h 152400"/>
                <a:gd name="connsiteX20" fmla="*/ 116304 w 847725"/>
                <a:gd name="connsiteY20" fmla="*/ 0 h 152400"/>
                <a:gd name="connsiteX21" fmla="*/ 28073 w 847725"/>
                <a:gd name="connsiteY21" fmla="*/ 0 h 152400"/>
                <a:gd name="connsiteX22" fmla="*/ 0 w 847725"/>
                <a:gd name="connsiteY22" fmla="*/ 28069 h 152400"/>
                <a:gd name="connsiteX23" fmla="*/ 0 w 847725"/>
                <a:gd name="connsiteY23" fmla="*/ 160770 h 152400"/>
                <a:gd name="connsiteX24" fmla="*/ 854366 w 847725"/>
                <a:gd name="connsiteY24" fmla="*/ 160770 h 152400"/>
                <a:gd name="connsiteX25" fmla="*/ 854366 w 847725"/>
                <a:gd name="connsiteY25" fmla="*/ 28069 h 152400"/>
                <a:gd name="connsiteX26" fmla="*/ 826296 w 847725"/>
                <a:gd name="connsiteY26" fmla="*/ 0 h 152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847725" h="152400">
                  <a:moveTo>
                    <a:pt x="826296" y="0"/>
                  </a:moveTo>
                  <a:lnTo>
                    <a:pt x="738024" y="0"/>
                  </a:lnTo>
                  <a:lnTo>
                    <a:pt x="738024" y="58298"/>
                  </a:lnTo>
                  <a:cubicBezTo>
                    <a:pt x="738024" y="73627"/>
                    <a:pt x="725550" y="86096"/>
                    <a:pt x="710224" y="86096"/>
                  </a:cubicBezTo>
                  <a:cubicBezTo>
                    <a:pt x="694897" y="86096"/>
                    <a:pt x="682423" y="73627"/>
                    <a:pt x="682423" y="58298"/>
                  </a:cubicBezTo>
                  <a:lnTo>
                    <a:pt x="682423" y="0"/>
                  </a:lnTo>
                  <a:lnTo>
                    <a:pt x="549318" y="0"/>
                  </a:lnTo>
                  <a:lnTo>
                    <a:pt x="549318" y="58298"/>
                  </a:lnTo>
                  <a:cubicBezTo>
                    <a:pt x="549318" y="73627"/>
                    <a:pt x="536846" y="86096"/>
                    <a:pt x="521516" y="86096"/>
                  </a:cubicBezTo>
                  <a:cubicBezTo>
                    <a:pt x="506187" y="86096"/>
                    <a:pt x="493718" y="73627"/>
                    <a:pt x="493718" y="58298"/>
                  </a:cubicBezTo>
                  <a:lnTo>
                    <a:pt x="493718" y="0"/>
                  </a:lnTo>
                  <a:lnTo>
                    <a:pt x="360611" y="0"/>
                  </a:lnTo>
                  <a:lnTo>
                    <a:pt x="360611" y="58298"/>
                  </a:lnTo>
                  <a:cubicBezTo>
                    <a:pt x="360611" y="73627"/>
                    <a:pt x="348139" y="86096"/>
                    <a:pt x="332809" y="86096"/>
                  </a:cubicBezTo>
                  <a:cubicBezTo>
                    <a:pt x="317480" y="86096"/>
                    <a:pt x="305011" y="73627"/>
                    <a:pt x="305011" y="58298"/>
                  </a:cubicBezTo>
                  <a:lnTo>
                    <a:pt x="305011" y="0"/>
                  </a:lnTo>
                  <a:lnTo>
                    <a:pt x="171904" y="0"/>
                  </a:lnTo>
                  <a:lnTo>
                    <a:pt x="171904" y="58298"/>
                  </a:lnTo>
                  <a:cubicBezTo>
                    <a:pt x="171904" y="73627"/>
                    <a:pt x="159435" y="86096"/>
                    <a:pt x="144106" y="86096"/>
                  </a:cubicBezTo>
                  <a:cubicBezTo>
                    <a:pt x="128777" y="86096"/>
                    <a:pt x="116304" y="73627"/>
                    <a:pt x="116304" y="58298"/>
                  </a:cubicBezTo>
                  <a:lnTo>
                    <a:pt x="116304" y="0"/>
                  </a:lnTo>
                  <a:lnTo>
                    <a:pt x="28073" y="0"/>
                  </a:lnTo>
                  <a:cubicBezTo>
                    <a:pt x="12595" y="0"/>
                    <a:pt x="0" y="12594"/>
                    <a:pt x="0" y="28069"/>
                  </a:cubicBezTo>
                  <a:lnTo>
                    <a:pt x="0" y="160770"/>
                  </a:lnTo>
                  <a:lnTo>
                    <a:pt x="854366" y="160770"/>
                  </a:lnTo>
                  <a:lnTo>
                    <a:pt x="854366" y="28069"/>
                  </a:lnTo>
                  <a:cubicBezTo>
                    <a:pt x="854366" y="12594"/>
                    <a:pt x="841774" y="0"/>
                    <a:pt x="826296" y="0"/>
                  </a:cubicBezTo>
                  <a:close/>
                </a:path>
              </a:pathLst>
            </a:custGeom>
            <a:solidFill>
              <a:schemeClr val="accent2"/>
            </a:solidFill>
            <a:ln w="65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6C3AC4F5-B8CF-4C17-AF27-028BA4F2F78A}"/>
                </a:ext>
              </a:extLst>
            </p:cNvPr>
            <p:cNvSpPr/>
            <p:nvPr/>
          </p:nvSpPr>
          <p:spPr>
            <a:xfrm>
              <a:off x="8817823" y="4193647"/>
              <a:ext cx="19050" cy="114300"/>
            </a:xfrm>
            <a:custGeom>
              <a:avLst/>
              <a:gdLst>
                <a:gd name="connsiteX0" fmla="*/ 14235 w 19050"/>
                <a:gd name="connsiteY0" fmla="*/ 121655 h 114300"/>
                <a:gd name="connsiteX1" fmla="*/ 28471 w 19050"/>
                <a:gd name="connsiteY1" fmla="*/ 107418 h 114300"/>
                <a:gd name="connsiteX2" fmla="*/ 28471 w 19050"/>
                <a:gd name="connsiteY2" fmla="*/ 42405 h 114300"/>
                <a:gd name="connsiteX3" fmla="*/ 28458 w 19050"/>
                <a:gd name="connsiteY3" fmla="*/ 42340 h 114300"/>
                <a:gd name="connsiteX4" fmla="*/ 28471 w 19050"/>
                <a:gd name="connsiteY4" fmla="*/ 42274 h 114300"/>
                <a:gd name="connsiteX5" fmla="*/ 28471 w 19050"/>
                <a:gd name="connsiteY5" fmla="*/ 14243 h 114300"/>
                <a:gd name="connsiteX6" fmla="*/ 14235 w 19050"/>
                <a:gd name="connsiteY6" fmla="*/ 0 h 114300"/>
                <a:gd name="connsiteX7" fmla="*/ 0 w 19050"/>
                <a:gd name="connsiteY7" fmla="*/ 14243 h 114300"/>
                <a:gd name="connsiteX8" fmla="*/ 0 w 19050"/>
                <a:gd name="connsiteY8" fmla="*/ 107418 h 114300"/>
                <a:gd name="connsiteX9" fmla="*/ 14235 w 19050"/>
                <a:gd name="connsiteY9" fmla="*/ 121655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9050" h="114300">
                  <a:moveTo>
                    <a:pt x="14235" y="121655"/>
                  </a:moveTo>
                  <a:cubicBezTo>
                    <a:pt x="22083" y="121655"/>
                    <a:pt x="28471" y="115271"/>
                    <a:pt x="28471" y="107418"/>
                  </a:cubicBezTo>
                  <a:lnTo>
                    <a:pt x="28471" y="42405"/>
                  </a:lnTo>
                  <a:cubicBezTo>
                    <a:pt x="28471" y="42382"/>
                    <a:pt x="28458" y="42363"/>
                    <a:pt x="28458" y="42340"/>
                  </a:cubicBezTo>
                  <a:cubicBezTo>
                    <a:pt x="28458" y="42316"/>
                    <a:pt x="28471" y="42297"/>
                    <a:pt x="28471" y="42274"/>
                  </a:cubicBezTo>
                  <a:lnTo>
                    <a:pt x="28471" y="14243"/>
                  </a:lnTo>
                  <a:cubicBezTo>
                    <a:pt x="28471" y="6390"/>
                    <a:pt x="22083" y="0"/>
                    <a:pt x="14235" y="0"/>
                  </a:cubicBezTo>
                  <a:cubicBezTo>
                    <a:pt x="6388" y="0"/>
                    <a:pt x="0" y="6390"/>
                    <a:pt x="0" y="14243"/>
                  </a:cubicBezTo>
                  <a:lnTo>
                    <a:pt x="0" y="107418"/>
                  </a:lnTo>
                  <a:cubicBezTo>
                    <a:pt x="0" y="115271"/>
                    <a:pt x="6388" y="121655"/>
                    <a:pt x="14235" y="121655"/>
                  </a:cubicBezTo>
                  <a:close/>
                </a:path>
              </a:pathLst>
            </a:custGeom>
            <a:solidFill>
              <a:schemeClr val="accent2"/>
            </a:solidFill>
            <a:ln w="65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3D9CA0F8-45DB-4452-8902-D59EF6987F2E}"/>
                </a:ext>
              </a:extLst>
            </p:cNvPr>
            <p:cNvSpPr/>
            <p:nvPr/>
          </p:nvSpPr>
          <p:spPr>
            <a:xfrm>
              <a:off x="8440408" y="4193647"/>
              <a:ext cx="19050" cy="114300"/>
            </a:xfrm>
            <a:custGeom>
              <a:avLst/>
              <a:gdLst>
                <a:gd name="connsiteX0" fmla="*/ 14237 w 19050"/>
                <a:gd name="connsiteY0" fmla="*/ 121655 h 114300"/>
                <a:gd name="connsiteX1" fmla="*/ 28477 w 19050"/>
                <a:gd name="connsiteY1" fmla="*/ 107418 h 114300"/>
                <a:gd name="connsiteX2" fmla="*/ 28477 w 19050"/>
                <a:gd name="connsiteY2" fmla="*/ 42421 h 114300"/>
                <a:gd name="connsiteX3" fmla="*/ 28460 w 19050"/>
                <a:gd name="connsiteY3" fmla="*/ 42340 h 114300"/>
                <a:gd name="connsiteX4" fmla="*/ 28477 w 19050"/>
                <a:gd name="connsiteY4" fmla="*/ 42258 h 114300"/>
                <a:gd name="connsiteX5" fmla="*/ 28477 w 19050"/>
                <a:gd name="connsiteY5" fmla="*/ 14243 h 114300"/>
                <a:gd name="connsiteX6" fmla="*/ 14237 w 19050"/>
                <a:gd name="connsiteY6" fmla="*/ 0 h 114300"/>
                <a:gd name="connsiteX7" fmla="*/ 0 w 19050"/>
                <a:gd name="connsiteY7" fmla="*/ 14243 h 114300"/>
                <a:gd name="connsiteX8" fmla="*/ 0 w 19050"/>
                <a:gd name="connsiteY8" fmla="*/ 107418 h 114300"/>
                <a:gd name="connsiteX9" fmla="*/ 14237 w 19050"/>
                <a:gd name="connsiteY9" fmla="*/ 121655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9050" h="114300">
                  <a:moveTo>
                    <a:pt x="14237" y="121655"/>
                  </a:moveTo>
                  <a:cubicBezTo>
                    <a:pt x="22091" y="121655"/>
                    <a:pt x="28477" y="115271"/>
                    <a:pt x="28477" y="107418"/>
                  </a:cubicBezTo>
                  <a:lnTo>
                    <a:pt x="28477" y="42421"/>
                  </a:lnTo>
                  <a:cubicBezTo>
                    <a:pt x="28477" y="42392"/>
                    <a:pt x="28460" y="42369"/>
                    <a:pt x="28460" y="42340"/>
                  </a:cubicBezTo>
                  <a:cubicBezTo>
                    <a:pt x="28460" y="42311"/>
                    <a:pt x="28477" y="42287"/>
                    <a:pt x="28477" y="42258"/>
                  </a:cubicBezTo>
                  <a:lnTo>
                    <a:pt x="28477" y="14243"/>
                  </a:lnTo>
                  <a:cubicBezTo>
                    <a:pt x="28477" y="6390"/>
                    <a:pt x="22091" y="0"/>
                    <a:pt x="14237" y="0"/>
                  </a:cubicBezTo>
                  <a:cubicBezTo>
                    <a:pt x="6387" y="0"/>
                    <a:pt x="0" y="6390"/>
                    <a:pt x="0" y="14243"/>
                  </a:cubicBezTo>
                  <a:lnTo>
                    <a:pt x="0" y="107418"/>
                  </a:lnTo>
                  <a:cubicBezTo>
                    <a:pt x="0" y="115271"/>
                    <a:pt x="6387" y="121655"/>
                    <a:pt x="14237" y="121655"/>
                  </a:cubicBezTo>
                  <a:close/>
                </a:path>
              </a:pathLst>
            </a:custGeom>
            <a:solidFill>
              <a:schemeClr val="accent2"/>
            </a:solidFill>
            <a:ln w="65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0" name="Freeform: Shape 99">
              <a:extLst>
                <a:ext uri="{FF2B5EF4-FFF2-40B4-BE49-F238E27FC236}">
                  <a16:creationId xmlns:a16="http://schemas.microsoft.com/office/drawing/2014/main" id="{AF59A492-AF15-447B-8B4C-3EF2C022C1CB}"/>
                </a:ext>
              </a:extLst>
            </p:cNvPr>
            <p:cNvSpPr/>
            <p:nvPr/>
          </p:nvSpPr>
          <p:spPr>
            <a:xfrm>
              <a:off x="8251701" y="4193647"/>
              <a:ext cx="19050" cy="114300"/>
            </a:xfrm>
            <a:custGeom>
              <a:avLst/>
              <a:gdLst>
                <a:gd name="connsiteX0" fmla="*/ 14240 w 19050"/>
                <a:gd name="connsiteY0" fmla="*/ 121655 h 114300"/>
                <a:gd name="connsiteX1" fmla="*/ 28477 w 19050"/>
                <a:gd name="connsiteY1" fmla="*/ 107418 h 114300"/>
                <a:gd name="connsiteX2" fmla="*/ 28477 w 19050"/>
                <a:gd name="connsiteY2" fmla="*/ 42405 h 114300"/>
                <a:gd name="connsiteX3" fmla="*/ 28463 w 19050"/>
                <a:gd name="connsiteY3" fmla="*/ 42340 h 114300"/>
                <a:gd name="connsiteX4" fmla="*/ 28477 w 19050"/>
                <a:gd name="connsiteY4" fmla="*/ 42274 h 114300"/>
                <a:gd name="connsiteX5" fmla="*/ 28477 w 19050"/>
                <a:gd name="connsiteY5" fmla="*/ 14243 h 114300"/>
                <a:gd name="connsiteX6" fmla="*/ 14240 w 19050"/>
                <a:gd name="connsiteY6" fmla="*/ 0 h 114300"/>
                <a:gd name="connsiteX7" fmla="*/ 0 w 19050"/>
                <a:gd name="connsiteY7" fmla="*/ 14243 h 114300"/>
                <a:gd name="connsiteX8" fmla="*/ 0 w 19050"/>
                <a:gd name="connsiteY8" fmla="*/ 107418 h 114300"/>
                <a:gd name="connsiteX9" fmla="*/ 14240 w 19050"/>
                <a:gd name="connsiteY9" fmla="*/ 121655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9050" h="114300">
                  <a:moveTo>
                    <a:pt x="14240" y="121655"/>
                  </a:moveTo>
                  <a:cubicBezTo>
                    <a:pt x="22090" y="121655"/>
                    <a:pt x="28477" y="115271"/>
                    <a:pt x="28477" y="107418"/>
                  </a:cubicBezTo>
                  <a:lnTo>
                    <a:pt x="28477" y="42405"/>
                  </a:lnTo>
                  <a:cubicBezTo>
                    <a:pt x="28476" y="42382"/>
                    <a:pt x="28463" y="42363"/>
                    <a:pt x="28463" y="42340"/>
                  </a:cubicBezTo>
                  <a:cubicBezTo>
                    <a:pt x="28463" y="42316"/>
                    <a:pt x="28476" y="42297"/>
                    <a:pt x="28477" y="42274"/>
                  </a:cubicBezTo>
                  <a:lnTo>
                    <a:pt x="28477" y="14243"/>
                  </a:lnTo>
                  <a:cubicBezTo>
                    <a:pt x="28477" y="6390"/>
                    <a:pt x="22090" y="0"/>
                    <a:pt x="14240" y="0"/>
                  </a:cubicBezTo>
                  <a:cubicBezTo>
                    <a:pt x="6386" y="0"/>
                    <a:pt x="0" y="6390"/>
                    <a:pt x="0" y="14243"/>
                  </a:cubicBezTo>
                  <a:lnTo>
                    <a:pt x="0" y="107418"/>
                  </a:lnTo>
                  <a:cubicBezTo>
                    <a:pt x="0" y="115271"/>
                    <a:pt x="6386" y="121655"/>
                    <a:pt x="14240" y="121655"/>
                  </a:cubicBezTo>
                  <a:close/>
                </a:path>
              </a:pathLst>
            </a:custGeom>
            <a:solidFill>
              <a:schemeClr val="accent2"/>
            </a:solidFill>
            <a:ln w="65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1" name="Freeform: Shape 100">
              <a:extLst>
                <a:ext uri="{FF2B5EF4-FFF2-40B4-BE49-F238E27FC236}">
                  <a16:creationId xmlns:a16="http://schemas.microsoft.com/office/drawing/2014/main" id="{44DF95E9-EB5D-45DC-B6C5-FDB46D7810EC}"/>
                </a:ext>
              </a:extLst>
            </p:cNvPr>
            <p:cNvSpPr/>
            <p:nvPr/>
          </p:nvSpPr>
          <p:spPr>
            <a:xfrm>
              <a:off x="8629115" y="4193647"/>
              <a:ext cx="19050" cy="114300"/>
            </a:xfrm>
            <a:custGeom>
              <a:avLst/>
              <a:gdLst>
                <a:gd name="connsiteX0" fmla="*/ 14237 w 19050"/>
                <a:gd name="connsiteY0" fmla="*/ 121655 h 114300"/>
                <a:gd name="connsiteX1" fmla="*/ 28477 w 19050"/>
                <a:gd name="connsiteY1" fmla="*/ 107418 h 114300"/>
                <a:gd name="connsiteX2" fmla="*/ 28477 w 19050"/>
                <a:gd name="connsiteY2" fmla="*/ 42421 h 114300"/>
                <a:gd name="connsiteX3" fmla="*/ 28460 w 19050"/>
                <a:gd name="connsiteY3" fmla="*/ 42340 h 114300"/>
                <a:gd name="connsiteX4" fmla="*/ 28477 w 19050"/>
                <a:gd name="connsiteY4" fmla="*/ 42258 h 114300"/>
                <a:gd name="connsiteX5" fmla="*/ 28477 w 19050"/>
                <a:gd name="connsiteY5" fmla="*/ 14243 h 114300"/>
                <a:gd name="connsiteX6" fmla="*/ 14237 w 19050"/>
                <a:gd name="connsiteY6" fmla="*/ 0 h 114300"/>
                <a:gd name="connsiteX7" fmla="*/ 0 w 19050"/>
                <a:gd name="connsiteY7" fmla="*/ 14243 h 114300"/>
                <a:gd name="connsiteX8" fmla="*/ 0 w 19050"/>
                <a:gd name="connsiteY8" fmla="*/ 107418 h 114300"/>
                <a:gd name="connsiteX9" fmla="*/ 14237 w 19050"/>
                <a:gd name="connsiteY9" fmla="*/ 121655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9050" h="114300">
                  <a:moveTo>
                    <a:pt x="14237" y="121655"/>
                  </a:moveTo>
                  <a:cubicBezTo>
                    <a:pt x="22091" y="121655"/>
                    <a:pt x="28477" y="115271"/>
                    <a:pt x="28477" y="107418"/>
                  </a:cubicBezTo>
                  <a:lnTo>
                    <a:pt x="28477" y="42421"/>
                  </a:lnTo>
                  <a:cubicBezTo>
                    <a:pt x="28477" y="42392"/>
                    <a:pt x="28460" y="42369"/>
                    <a:pt x="28460" y="42340"/>
                  </a:cubicBezTo>
                  <a:cubicBezTo>
                    <a:pt x="28460" y="42311"/>
                    <a:pt x="28477" y="42287"/>
                    <a:pt x="28477" y="42258"/>
                  </a:cubicBezTo>
                  <a:lnTo>
                    <a:pt x="28477" y="14243"/>
                  </a:lnTo>
                  <a:cubicBezTo>
                    <a:pt x="28477" y="6390"/>
                    <a:pt x="22091" y="0"/>
                    <a:pt x="14237" y="0"/>
                  </a:cubicBezTo>
                  <a:cubicBezTo>
                    <a:pt x="6387" y="0"/>
                    <a:pt x="0" y="6390"/>
                    <a:pt x="0" y="14243"/>
                  </a:cubicBezTo>
                  <a:lnTo>
                    <a:pt x="0" y="107418"/>
                  </a:lnTo>
                  <a:cubicBezTo>
                    <a:pt x="0" y="115271"/>
                    <a:pt x="6387" y="121655"/>
                    <a:pt x="14237" y="121655"/>
                  </a:cubicBezTo>
                  <a:close/>
                </a:path>
              </a:pathLst>
            </a:custGeom>
            <a:solidFill>
              <a:schemeClr val="accent2"/>
            </a:solidFill>
            <a:ln w="65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2" name="Freeform: Shape 101">
              <a:extLst>
                <a:ext uri="{FF2B5EF4-FFF2-40B4-BE49-F238E27FC236}">
                  <a16:creationId xmlns:a16="http://schemas.microsoft.com/office/drawing/2014/main" id="{2DAF00A7-42CB-487A-A46E-4043059D2A8C}"/>
                </a:ext>
              </a:extLst>
            </p:cNvPr>
            <p:cNvSpPr/>
            <p:nvPr/>
          </p:nvSpPr>
          <p:spPr>
            <a:xfrm>
              <a:off x="8121835" y="4417098"/>
              <a:ext cx="847725" cy="628650"/>
            </a:xfrm>
            <a:custGeom>
              <a:avLst/>
              <a:gdLst>
                <a:gd name="connsiteX0" fmla="*/ 0 w 847725"/>
                <a:gd name="connsiteY0" fmla="*/ 602871 h 628650"/>
                <a:gd name="connsiteX1" fmla="*/ 28073 w 847725"/>
                <a:gd name="connsiteY1" fmla="*/ 630941 h 628650"/>
                <a:gd name="connsiteX2" fmla="*/ 826296 w 847725"/>
                <a:gd name="connsiteY2" fmla="*/ 630941 h 628650"/>
                <a:gd name="connsiteX3" fmla="*/ 854366 w 847725"/>
                <a:gd name="connsiteY3" fmla="*/ 602871 h 628650"/>
                <a:gd name="connsiteX4" fmla="*/ 854366 w 847725"/>
                <a:gd name="connsiteY4" fmla="*/ 0 h 628650"/>
                <a:gd name="connsiteX5" fmla="*/ 0 w 847725"/>
                <a:gd name="connsiteY5" fmla="*/ 0 h 628650"/>
                <a:gd name="connsiteX6" fmla="*/ 0 w 847725"/>
                <a:gd name="connsiteY6" fmla="*/ 602871 h 628650"/>
                <a:gd name="connsiteX7" fmla="*/ 569167 w 847725"/>
                <a:gd name="connsiteY7" fmla="*/ 191812 h 628650"/>
                <a:gd name="connsiteX8" fmla="*/ 574643 w 847725"/>
                <a:gd name="connsiteY8" fmla="*/ 187197 h 628650"/>
                <a:gd name="connsiteX9" fmla="*/ 612688 w 847725"/>
                <a:gd name="connsiteY9" fmla="*/ 181668 h 628650"/>
                <a:gd name="connsiteX10" fmla="*/ 629700 w 847725"/>
                <a:gd name="connsiteY10" fmla="*/ 147189 h 628650"/>
                <a:gd name="connsiteX11" fmla="*/ 641866 w 847725"/>
                <a:gd name="connsiteY11" fmla="*/ 147189 h 628650"/>
                <a:gd name="connsiteX12" fmla="*/ 658881 w 847725"/>
                <a:gd name="connsiteY12" fmla="*/ 181668 h 628650"/>
                <a:gd name="connsiteX13" fmla="*/ 696921 w 847725"/>
                <a:gd name="connsiteY13" fmla="*/ 187197 h 628650"/>
                <a:gd name="connsiteX14" fmla="*/ 702403 w 847725"/>
                <a:gd name="connsiteY14" fmla="*/ 191812 h 628650"/>
                <a:gd name="connsiteX15" fmla="*/ 700681 w 847725"/>
                <a:gd name="connsiteY15" fmla="*/ 198759 h 628650"/>
                <a:gd name="connsiteX16" fmla="*/ 673149 w 847725"/>
                <a:gd name="connsiteY16" fmla="*/ 225597 h 628650"/>
                <a:gd name="connsiteX17" fmla="*/ 679649 w 847725"/>
                <a:gd name="connsiteY17" fmla="*/ 263493 h 628650"/>
                <a:gd name="connsiteX18" fmla="*/ 676955 w 847725"/>
                <a:gd name="connsiteY18" fmla="*/ 270121 h 628650"/>
                <a:gd name="connsiteX19" fmla="*/ 672965 w 847725"/>
                <a:gd name="connsiteY19" fmla="*/ 271419 h 628650"/>
                <a:gd name="connsiteX20" fmla="*/ 669811 w 847725"/>
                <a:gd name="connsiteY20" fmla="*/ 270638 h 628650"/>
                <a:gd name="connsiteX21" fmla="*/ 635780 w 847725"/>
                <a:gd name="connsiteY21" fmla="*/ 252746 h 628650"/>
                <a:gd name="connsiteX22" fmla="*/ 601752 w 847725"/>
                <a:gd name="connsiteY22" fmla="*/ 270638 h 628650"/>
                <a:gd name="connsiteX23" fmla="*/ 594611 w 847725"/>
                <a:gd name="connsiteY23" fmla="*/ 270121 h 628650"/>
                <a:gd name="connsiteX24" fmla="*/ 591913 w 847725"/>
                <a:gd name="connsiteY24" fmla="*/ 263493 h 628650"/>
                <a:gd name="connsiteX25" fmla="*/ 598412 w 847725"/>
                <a:gd name="connsiteY25" fmla="*/ 225597 h 628650"/>
                <a:gd name="connsiteX26" fmla="*/ 570885 w 847725"/>
                <a:gd name="connsiteY26" fmla="*/ 198759 h 628650"/>
                <a:gd name="connsiteX27" fmla="*/ 569167 w 847725"/>
                <a:gd name="connsiteY27" fmla="*/ 191812 h 628650"/>
                <a:gd name="connsiteX28" fmla="*/ 324463 w 847725"/>
                <a:gd name="connsiteY28" fmla="*/ 108696 h 628650"/>
                <a:gd name="connsiteX29" fmla="*/ 329939 w 847725"/>
                <a:gd name="connsiteY29" fmla="*/ 104081 h 628650"/>
                <a:gd name="connsiteX30" fmla="*/ 392932 w 847725"/>
                <a:gd name="connsiteY30" fmla="*/ 94930 h 628650"/>
                <a:gd name="connsiteX31" fmla="*/ 421101 w 847725"/>
                <a:gd name="connsiteY31" fmla="*/ 37850 h 628650"/>
                <a:gd name="connsiteX32" fmla="*/ 433265 w 847725"/>
                <a:gd name="connsiteY32" fmla="*/ 37850 h 628650"/>
                <a:gd name="connsiteX33" fmla="*/ 461434 w 847725"/>
                <a:gd name="connsiteY33" fmla="*/ 94930 h 628650"/>
                <a:gd name="connsiteX34" fmla="*/ 524423 w 847725"/>
                <a:gd name="connsiteY34" fmla="*/ 104081 h 628650"/>
                <a:gd name="connsiteX35" fmla="*/ 529900 w 847725"/>
                <a:gd name="connsiteY35" fmla="*/ 108696 h 628650"/>
                <a:gd name="connsiteX36" fmla="*/ 528185 w 847725"/>
                <a:gd name="connsiteY36" fmla="*/ 115643 h 628650"/>
                <a:gd name="connsiteX37" fmla="*/ 482604 w 847725"/>
                <a:gd name="connsiteY37" fmla="*/ 160074 h 628650"/>
                <a:gd name="connsiteX38" fmla="*/ 493364 w 847725"/>
                <a:gd name="connsiteY38" fmla="*/ 222816 h 628650"/>
                <a:gd name="connsiteX39" fmla="*/ 490666 w 847725"/>
                <a:gd name="connsiteY39" fmla="*/ 229444 h 628650"/>
                <a:gd name="connsiteX40" fmla="*/ 486680 w 847725"/>
                <a:gd name="connsiteY40" fmla="*/ 230742 h 628650"/>
                <a:gd name="connsiteX41" fmla="*/ 483524 w 847725"/>
                <a:gd name="connsiteY41" fmla="*/ 229960 h 628650"/>
                <a:gd name="connsiteX42" fmla="*/ 427183 w 847725"/>
                <a:gd name="connsiteY42" fmla="*/ 200341 h 628650"/>
                <a:gd name="connsiteX43" fmla="*/ 370842 w 847725"/>
                <a:gd name="connsiteY43" fmla="*/ 229960 h 628650"/>
                <a:gd name="connsiteX44" fmla="*/ 363700 w 847725"/>
                <a:gd name="connsiteY44" fmla="*/ 229444 h 628650"/>
                <a:gd name="connsiteX45" fmla="*/ 361002 w 847725"/>
                <a:gd name="connsiteY45" fmla="*/ 222816 h 628650"/>
                <a:gd name="connsiteX46" fmla="*/ 371762 w 847725"/>
                <a:gd name="connsiteY46" fmla="*/ 160081 h 628650"/>
                <a:gd name="connsiteX47" fmla="*/ 326178 w 847725"/>
                <a:gd name="connsiteY47" fmla="*/ 115643 h 628650"/>
                <a:gd name="connsiteX48" fmla="*/ 324463 w 847725"/>
                <a:gd name="connsiteY48" fmla="*/ 108696 h 628650"/>
                <a:gd name="connsiteX49" fmla="*/ 151966 w 847725"/>
                <a:gd name="connsiteY49" fmla="*/ 191812 h 628650"/>
                <a:gd name="connsiteX50" fmla="*/ 157442 w 847725"/>
                <a:gd name="connsiteY50" fmla="*/ 187197 h 628650"/>
                <a:gd name="connsiteX51" fmla="*/ 195488 w 847725"/>
                <a:gd name="connsiteY51" fmla="*/ 181668 h 628650"/>
                <a:gd name="connsiteX52" fmla="*/ 212499 w 847725"/>
                <a:gd name="connsiteY52" fmla="*/ 147189 h 628650"/>
                <a:gd name="connsiteX53" fmla="*/ 224663 w 847725"/>
                <a:gd name="connsiteY53" fmla="*/ 147189 h 628650"/>
                <a:gd name="connsiteX54" fmla="*/ 241678 w 847725"/>
                <a:gd name="connsiteY54" fmla="*/ 181668 h 628650"/>
                <a:gd name="connsiteX55" fmla="*/ 279723 w 847725"/>
                <a:gd name="connsiteY55" fmla="*/ 187197 h 628650"/>
                <a:gd name="connsiteX56" fmla="*/ 285199 w 847725"/>
                <a:gd name="connsiteY56" fmla="*/ 191812 h 628650"/>
                <a:gd name="connsiteX57" fmla="*/ 283481 w 847725"/>
                <a:gd name="connsiteY57" fmla="*/ 198759 h 628650"/>
                <a:gd name="connsiteX58" fmla="*/ 255951 w 847725"/>
                <a:gd name="connsiteY58" fmla="*/ 225597 h 628650"/>
                <a:gd name="connsiteX59" fmla="*/ 262450 w 847725"/>
                <a:gd name="connsiteY59" fmla="*/ 263493 h 628650"/>
                <a:gd name="connsiteX60" fmla="*/ 259752 w 847725"/>
                <a:gd name="connsiteY60" fmla="*/ 270121 h 628650"/>
                <a:gd name="connsiteX61" fmla="*/ 255766 w 847725"/>
                <a:gd name="connsiteY61" fmla="*/ 271419 h 628650"/>
                <a:gd name="connsiteX62" fmla="*/ 252610 w 847725"/>
                <a:gd name="connsiteY62" fmla="*/ 270638 h 628650"/>
                <a:gd name="connsiteX63" fmla="*/ 218581 w 847725"/>
                <a:gd name="connsiteY63" fmla="*/ 252746 h 628650"/>
                <a:gd name="connsiteX64" fmla="*/ 184552 w 847725"/>
                <a:gd name="connsiteY64" fmla="*/ 270638 h 628650"/>
                <a:gd name="connsiteX65" fmla="*/ 177410 w 847725"/>
                <a:gd name="connsiteY65" fmla="*/ 270121 h 628650"/>
                <a:gd name="connsiteX66" fmla="*/ 174712 w 847725"/>
                <a:gd name="connsiteY66" fmla="*/ 263493 h 628650"/>
                <a:gd name="connsiteX67" fmla="*/ 181211 w 847725"/>
                <a:gd name="connsiteY67" fmla="*/ 225597 h 628650"/>
                <a:gd name="connsiteX68" fmla="*/ 153685 w 847725"/>
                <a:gd name="connsiteY68" fmla="*/ 198759 h 628650"/>
                <a:gd name="connsiteX69" fmla="*/ 151966 w 847725"/>
                <a:gd name="connsiteY69" fmla="*/ 191812 h 628650"/>
                <a:gd name="connsiteX70" fmla="*/ 58175 w 847725"/>
                <a:gd name="connsiteY70" fmla="*/ 315772 h 628650"/>
                <a:gd name="connsiteX71" fmla="*/ 796189 w 847725"/>
                <a:gd name="connsiteY71" fmla="*/ 315772 h 628650"/>
                <a:gd name="connsiteX72" fmla="*/ 802971 w 847725"/>
                <a:gd name="connsiteY72" fmla="*/ 322553 h 628650"/>
                <a:gd name="connsiteX73" fmla="*/ 796189 w 847725"/>
                <a:gd name="connsiteY73" fmla="*/ 329334 h 628650"/>
                <a:gd name="connsiteX74" fmla="*/ 58175 w 847725"/>
                <a:gd name="connsiteY74" fmla="*/ 329334 h 628650"/>
                <a:gd name="connsiteX75" fmla="*/ 51395 w 847725"/>
                <a:gd name="connsiteY75" fmla="*/ 322553 h 628650"/>
                <a:gd name="connsiteX76" fmla="*/ 58175 w 847725"/>
                <a:gd name="connsiteY76" fmla="*/ 315772 h 628650"/>
                <a:gd name="connsiteX77" fmla="*/ 58175 w 847725"/>
                <a:gd name="connsiteY77" fmla="*/ 395445 h 628650"/>
                <a:gd name="connsiteX78" fmla="*/ 796189 w 847725"/>
                <a:gd name="connsiteY78" fmla="*/ 395445 h 628650"/>
                <a:gd name="connsiteX79" fmla="*/ 802971 w 847725"/>
                <a:gd name="connsiteY79" fmla="*/ 402227 h 628650"/>
                <a:gd name="connsiteX80" fmla="*/ 796189 w 847725"/>
                <a:gd name="connsiteY80" fmla="*/ 409010 h 628650"/>
                <a:gd name="connsiteX81" fmla="*/ 58175 w 847725"/>
                <a:gd name="connsiteY81" fmla="*/ 409010 h 628650"/>
                <a:gd name="connsiteX82" fmla="*/ 51395 w 847725"/>
                <a:gd name="connsiteY82" fmla="*/ 402227 h 628650"/>
                <a:gd name="connsiteX83" fmla="*/ 58175 w 847725"/>
                <a:gd name="connsiteY83" fmla="*/ 395445 h 628650"/>
                <a:gd name="connsiteX84" fmla="*/ 58175 w 847725"/>
                <a:gd name="connsiteY84" fmla="*/ 475120 h 628650"/>
                <a:gd name="connsiteX85" fmla="*/ 796189 w 847725"/>
                <a:gd name="connsiteY85" fmla="*/ 475120 h 628650"/>
                <a:gd name="connsiteX86" fmla="*/ 802971 w 847725"/>
                <a:gd name="connsiteY86" fmla="*/ 481896 h 628650"/>
                <a:gd name="connsiteX87" fmla="*/ 796189 w 847725"/>
                <a:gd name="connsiteY87" fmla="*/ 488678 h 628650"/>
                <a:gd name="connsiteX88" fmla="*/ 58175 w 847725"/>
                <a:gd name="connsiteY88" fmla="*/ 488678 h 628650"/>
                <a:gd name="connsiteX89" fmla="*/ 51395 w 847725"/>
                <a:gd name="connsiteY89" fmla="*/ 481896 h 628650"/>
                <a:gd name="connsiteX90" fmla="*/ 58175 w 847725"/>
                <a:gd name="connsiteY90" fmla="*/ 475120 h 628650"/>
                <a:gd name="connsiteX91" fmla="*/ 58175 w 847725"/>
                <a:gd name="connsiteY91" fmla="*/ 554789 h 628650"/>
                <a:gd name="connsiteX92" fmla="*/ 796189 w 847725"/>
                <a:gd name="connsiteY92" fmla="*/ 554789 h 628650"/>
                <a:gd name="connsiteX93" fmla="*/ 802971 w 847725"/>
                <a:gd name="connsiteY93" fmla="*/ 561571 h 628650"/>
                <a:gd name="connsiteX94" fmla="*/ 796189 w 847725"/>
                <a:gd name="connsiteY94" fmla="*/ 568354 h 628650"/>
                <a:gd name="connsiteX95" fmla="*/ 58175 w 847725"/>
                <a:gd name="connsiteY95" fmla="*/ 568354 h 628650"/>
                <a:gd name="connsiteX96" fmla="*/ 51395 w 847725"/>
                <a:gd name="connsiteY96" fmla="*/ 561571 h 628650"/>
                <a:gd name="connsiteX97" fmla="*/ 58175 w 847725"/>
                <a:gd name="connsiteY97" fmla="*/ 554789 h 6286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</a:cxnLst>
              <a:rect l="l" t="t" r="r" b="b"/>
              <a:pathLst>
                <a:path w="847725" h="628650">
                  <a:moveTo>
                    <a:pt x="0" y="602871"/>
                  </a:moveTo>
                  <a:cubicBezTo>
                    <a:pt x="0" y="618349"/>
                    <a:pt x="12595" y="630941"/>
                    <a:pt x="28073" y="630941"/>
                  </a:cubicBezTo>
                  <a:lnTo>
                    <a:pt x="826296" y="630941"/>
                  </a:lnTo>
                  <a:cubicBezTo>
                    <a:pt x="841774" y="630941"/>
                    <a:pt x="854366" y="618349"/>
                    <a:pt x="854366" y="602871"/>
                  </a:cubicBezTo>
                  <a:lnTo>
                    <a:pt x="854366" y="0"/>
                  </a:lnTo>
                  <a:lnTo>
                    <a:pt x="0" y="0"/>
                  </a:lnTo>
                  <a:lnTo>
                    <a:pt x="0" y="602871"/>
                  </a:lnTo>
                  <a:close/>
                  <a:moveTo>
                    <a:pt x="569167" y="191812"/>
                  </a:moveTo>
                  <a:cubicBezTo>
                    <a:pt x="569964" y="189356"/>
                    <a:pt x="572087" y="187568"/>
                    <a:pt x="574643" y="187197"/>
                  </a:cubicBezTo>
                  <a:lnTo>
                    <a:pt x="612688" y="181668"/>
                  </a:lnTo>
                  <a:lnTo>
                    <a:pt x="629700" y="147189"/>
                  </a:lnTo>
                  <a:cubicBezTo>
                    <a:pt x="631981" y="142553"/>
                    <a:pt x="639578" y="142553"/>
                    <a:pt x="641866" y="147189"/>
                  </a:cubicBezTo>
                  <a:lnTo>
                    <a:pt x="658881" y="181668"/>
                  </a:lnTo>
                  <a:lnTo>
                    <a:pt x="696921" y="187197"/>
                  </a:lnTo>
                  <a:cubicBezTo>
                    <a:pt x="699478" y="187568"/>
                    <a:pt x="701601" y="189356"/>
                    <a:pt x="702403" y="191812"/>
                  </a:cubicBezTo>
                  <a:cubicBezTo>
                    <a:pt x="703198" y="194263"/>
                    <a:pt x="702534" y="196958"/>
                    <a:pt x="700681" y="198759"/>
                  </a:cubicBezTo>
                  <a:lnTo>
                    <a:pt x="673149" y="225597"/>
                  </a:lnTo>
                  <a:lnTo>
                    <a:pt x="679649" y="263493"/>
                  </a:lnTo>
                  <a:cubicBezTo>
                    <a:pt x="680083" y="266036"/>
                    <a:pt x="679038" y="268605"/>
                    <a:pt x="676955" y="270121"/>
                  </a:cubicBezTo>
                  <a:cubicBezTo>
                    <a:pt x="675772" y="270982"/>
                    <a:pt x="674372" y="271419"/>
                    <a:pt x="672965" y="271419"/>
                  </a:cubicBezTo>
                  <a:cubicBezTo>
                    <a:pt x="671888" y="271419"/>
                    <a:pt x="670803" y="271161"/>
                    <a:pt x="669811" y="270638"/>
                  </a:cubicBezTo>
                  <a:lnTo>
                    <a:pt x="635780" y="252746"/>
                  </a:lnTo>
                  <a:lnTo>
                    <a:pt x="601752" y="270638"/>
                  </a:lnTo>
                  <a:cubicBezTo>
                    <a:pt x="599481" y="271843"/>
                    <a:pt x="596704" y="271644"/>
                    <a:pt x="594611" y="270121"/>
                  </a:cubicBezTo>
                  <a:cubicBezTo>
                    <a:pt x="592525" y="268605"/>
                    <a:pt x="591479" y="266036"/>
                    <a:pt x="591913" y="263493"/>
                  </a:cubicBezTo>
                  <a:lnTo>
                    <a:pt x="598412" y="225597"/>
                  </a:lnTo>
                  <a:lnTo>
                    <a:pt x="570885" y="198759"/>
                  </a:lnTo>
                  <a:cubicBezTo>
                    <a:pt x="569034" y="196958"/>
                    <a:pt x="568369" y="194263"/>
                    <a:pt x="569167" y="191812"/>
                  </a:cubicBezTo>
                  <a:close/>
                  <a:moveTo>
                    <a:pt x="324463" y="108696"/>
                  </a:moveTo>
                  <a:cubicBezTo>
                    <a:pt x="325261" y="106240"/>
                    <a:pt x="327383" y="104451"/>
                    <a:pt x="329939" y="104081"/>
                  </a:cubicBezTo>
                  <a:lnTo>
                    <a:pt x="392932" y="94930"/>
                  </a:lnTo>
                  <a:lnTo>
                    <a:pt x="421101" y="37850"/>
                  </a:lnTo>
                  <a:cubicBezTo>
                    <a:pt x="423386" y="33215"/>
                    <a:pt x="430980" y="33215"/>
                    <a:pt x="433265" y="37850"/>
                  </a:cubicBezTo>
                  <a:lnTo>
                    <a:pt x="461434" y="94930"/>
                  </a:lnTo>
                  <a:lnTo>
                    <a:pt x="524423" y="104081"/>
                  </a:lnTo>
                  <a:cubicBezTo>
                    <a:pt x="526979" y="104451"/>
                    <a:pt x="529102" y="106240"/>
                    <a:pt x="529900" y="108696"/>
                  </a:cubicBezTo>
                  <a:cubicBezTo>
                    <a:pt x="530698" y="111147"/>
                    <a:pt x="530032" y="113841"/>
                    <a:pt x="528185" y="115643"/>
                  </a:cubicBezTo>
                  <a:lnTo>
                    <a:pt x="482604" y="160074"/>
                  </a:lnTo>
                  <a:lnTo>
                    <a:pt x="493364" y="222816"/>
                  </a:lnTo>
                  <a:cubicBezTo>
                    <a:pt x="493798" y="225359"/>
                    <a:pt x="492752" y="227928"/>
                    <a:pt x="490666" y="229444"/>
                  </a:cubicBezTo>
                  <a:cubicBezTo>
                    <a:pt x="489484" y="230305"/>
                    <a:pt x="488083" y="230742"/>
                    <a:pt x="486680" y="230742"/>
                  </a:cubicBezTo>
                  <a:cubicBezTo>
                    <a:pt x="485600" y="230742"/>
                    <a:pt x="484517" y="230484"/>
                    <a:pt x="483524" y="229960"/>
                  </a:cubicBezTo>
                  <a:lnTo>
                    <a:pt x="427183" y="200341"/>
                  </a:lnTo>
                  <a:lnTo>
                    <a:pt x="370842" y="229960"/>
                  </a:lnTo>
                  <a:cubicBezTo>
                    <a:pt x="368564" y="231172"/>
                    <a:pt x="365793" y="230974"/>
                    <a:pt x="363700" y="229444"/>
                  </a:cubicBezTo>
                  <a:cubicBezTo>
                    <a:pt x="361614" y="227928"/>
                    <a:pt x="360568" y="225359"/>
                    <a:pt x="361002" y="222816"/>
                  </a:cubicBezTo>
                  <a:lnTo>
                    <a:pt x="371762" y="160081"/>
                  </a:lnTo>
                  <a:lnTo>
                    <a:pt x="326178" y="115643"/>
                  </a:lnTo>
                  <a:cubicBezTo>
                    <a:pt x="324331" y="113841"/>
                    <a:pt x="323665" y="111147"/>
                    <a:pt x="324463" y="108696"/>
                  </a:cubicBezTo>
                  <a:close/>
                  <a:moveTo>
                    <a:pt x="151966" y="191812"/>
                  </a:moveTo>
                  <a:cubicBezTo>
                    <a:pt x="152764" y="189356"/>
                    <a:pt x="154886" y="187568"/>
                    <a:pt x="157442" y="187197"/>
                  </a:cubicBezTo>
                  <a:lnTo>
                    <a:pt x="195488" y="181668"/>
                  </a:lnTo>
                  <a:lnTo>
                    <a:pt x="212499" y="147189"/>
                  </a:lnTo>
                  <a:cubicBezTo>
                    <a:pt x="214784" y="142553"/>
                    <a:pt x="222379" y="142553"/>
                    <a:pt x="224663" y="147189"/>
                  </a:cubicBezTo>
                  <a:lnTo>
                    <a:pt x="241678" y="181668"/>
                  </a:lnTo>
                  <a:lnTo>
                    <a:pt x="279723" y="187197"/>
                  </a:lnTo>
                  <a:cubicBezTo>
                    <a:pt x="282279" y="187568"/>
                    <a:pt x="284402" y="189356"/>
                    <a:pt x="285199" y="191812"/>
                  </a:cubicBezTo>
                  <a:cubicBezTo>
                    <a:pt x="285997" y="194263"/>
                    <a:pt x="285331" y="196958"/>
                    <a:pt x="283481" y="198759"/>
                  </a:cubicBezTo>
                  <a:lnTo>
                    <a:pt x="255951" y="225597"/>
                  </a:lnTo>
                  <a:lnTo>
                    <a:pt x="262450" y="263493"/>
                  </a:lnTo>
                  <a:cubicBezTo>
                    <a:pt x="262884" y="266036"/>
                    <a:pt x="261838" y="268605"/>
                    <a:pt x="259752" y="270121"/>
                  </a:cubicBezTo>
                  <a:cubicBezTo>
                    <a:pt x="258570" y="270982"/>
                    <a:pt x="257169" y="271419"/>
                    <a:pt x="255766" y="271419"/>
                  </a:cubicBezTo>
                  <a:cubicBezTo>
                    <a:pt x="254686" y="271419"/>
                    <a:pt x="253603" y="271161"/>
                    <a:pt x="252610" y="270638"/>
                  </a:cubicBezTo>
                  <a:lnTo>
                    <a:pt x="218581" y="252746"/>
                  </a:lnTo>
                  <a:lnTo>
                    <a:pt x="184552" y="270638"/>
                  </a:lnTo>
                  <a:cubicBezTo>
                    <a:pt x="182281" y="271843"/>
                    <a:pt x="179509" y="271644"/>
                    <a:pt x="177410" y="270121"/>
                  </a:cubicBezTo>
                  <a:cubicBezTo>
                    <a:pt x="175324" y="268605"/>
                    <a:pt x="174278" y="266036"/>
                    <a:pt x="174712" y="263493"/>
                  </a:cubicBezTo>
                  <a:lnTo>
                    <a:pt x="181211" y="225597"/>
                  </a:lnTo>
                  <a:lnTo>
                    <a:pt x="153685" y="198759"/>
                  </a:lnTo>
                  <a:cubicBezTo>
                    <a:pt x="151833" y="196958"/>
                    <a:pt x="151168" y="194263"/>
                    <a:pt x="151966" y="191812"/>
                  </a:cubicBezTo>
                  <a:close/>
                  <a:moveTo>
                    <a:pt x="58175" y="315772"/>
                  </a:moveTo>
                  <a:lnTo>
                    <a:pt x="796189" y="315772"/>
                  </a:lnTo>
                  <a:cubicBezTo>
                    <a:pt x="799935" y="315772"/>
                    <a:pt x="802971" y="318805"/>
                    <a:pt x="802971" y="322553"/>
                  </a:cubicBezTo>
                  <a:cubicBezTo>
                    <a:pt x="802971" y="326300"/>
                    <a:pt x="799935" y="329334"/>
                    <a:pt x="796189" y="329334"/>
                  </a:cubicBezTo>
                  <a:lnTo>
                    <a:pt x="58175" y="329334"/>
                  </a:lnTo>
                  <a:cubicBezTo>
                    <a:pt x="54431" y="329334"/>
                    <a:pt x="51395" y="326300"/>
                    <a:pt x="51395" y="322553"/>
                  </a:cubicBezTo>
                  <a:cubicBezTo>
                    <a:pt x="51395" y="318805"/>
                    <a:pt x="54431" y="315772"/>
                    <a:pt x="58175" y="315772"/>
                  </a:cubicBezTo>
                  <a:close/>
                  <a:moveTo>
                    <a:pt x="58175" y="395445"/>
                  </a:moveTo>
                  <a:lnTo>
                    <a:pt x="796189" y="395445"/>
                  </a:lnTo>
                  <a:cubicBezTo>
                    <a:pt x="799935" y="395445"/>
                    <a:pt x="802971" y="398478"/>
                    <a:pt x="802971" y="402227"/>
                  </a:cubicBezTo>
                  <a:cubicBezTo>
                    <a:pt x="802971" y="405973"/>
                    <a:pt x="799935" y="409010"/>
                    <a:pt x="796189" y="409010"/>
                  </a:cubicBezTo>
                  <a:lnTo>
                    <a:pt x="58175" y="409010"/>
                  </a:lnTo>
                  <a:cubicBezTo>
                    <a:pt x="54431" y="409010"/>
                    <a:pt x="51395" y="405973"/>
                    <a:pt x="51395" y="402227"/>
                  </a:cubicBezTo>
                  <a:cubicBezTo>
                    <a:pt x="51395" y="398478"/>
                    <a:pt x="54431" y="395445"/>
                    <a:pt x="58175" y="395445"/>
                  </a:cubicBezTo>
                  <a:close/>
                  <a:moveTo>
                    <a:pt x="58175" y="475120"/>
                  </a:moveTo>
                  <a:lnTo>
                    <a:pt x="796189" y="475120"/>
                  </a:lnTo>
                  <a:cubicBezTo>
                    <a:pt x="799935" y="475120"/>
                    <a:pt x="802971" y="478150"/>
                    <a:pt x="802971" y="481896"/>
                  </a:cubicBezTo>
                  <a:cubicBezTo>
                    <a:pt x="802971" y="485649"/>
                    <a:pt x="799935" y="488678"/>
                    <a:pt x="796189" y="488678"/>
                  </a:cubicBezTo>
                  <a:lnTo>
                    <a:pt x="58175" y="488678"/>
                  </a:lnTo>
                  <a:cubicBezTo>
                    <a:pt x="54431" y="488678"/>
                    <a:pt x="51395" y="485649"/>
                    <a:pt x="51395" y="481896"/>
                  </a:cubicBezTo>
                  <a:cubicBezTo>
                    <a:pt x="51395" y="478150"/>
                    <a:pt x="54431" y="475120"/>
                    <a:pt x="58175" y="475120"/>
                  </a:cubicBezTo>
                  <a:close/>
                  <a:moveTo>
                    <a:pt x="58175" y="554789"/>
                  </a:moveTo>
                  <a:lnTo>
                    <a:pt x="796189" y="554789"/>
                  </a:lnTo>
                  <a:cubicBezTo>
                    <a:pt x="799935" y="554789"/>
                    <a:pt x="802971" y="557825"/>
                    <a:pt x="802971" y="561571"/>
                  </a:cubicBezTo>
                  <a:cubicBezTo>
                    <a:pt x="802971" y="565317"/>
                    <a:pt x="799935" y="568354"/>
                    <a:pt x="796189" y="568354"/>
                  </a:cubicBezTo>
                  <a:lnTo>
                    <a:pt x="58175" y="568354"/>
                  </a:lnTo>
                  <a:cubicBezTo>
                    <a:pt x="54431" y="568354"/>
                    <a:pt x="51395" y="565317"/>
                    <a:pt x="51395" y="561571"/>
                  </a:cubicBezTo>
                  <a:cubicBezTo>
                    <a:pt x="51395" y="557825"/>
                    <a:pt x="54431" y="554789"/>
                    <a:pt x="58175" y="554789"/>
                  </a:cubicBezTo>
                  <a:close/>
                </a:path>
              </a:pathLst>
            </a:custGeom>
            <a:solidFill>
              <a:schemeClr val="accent4"/>
            </a:solidFill>
            <a:ln w="65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103" name="Rectangle 6">
            <a:extLst>
              <a:ext uri="{FF2B5EF4-FFF2-40B4-BE49-F238E27FC236}">
                <a16:creationId xmlns:a16="http://schemas.microsoft.com/office/drawing/2014/main" id="{58D773B7-673F-419E-B0B9-B5B66FF34DCD}"/>
              </a:ext>
            </a:extLst>
          </p:cNvPr>
          <p:cNvSpPr/>
          <p:nvPr/>
        </p:nvSpPr>
        <p:spPr bwMode="auto">
          <a:xfrm>
            <a:off x="7365322" y="2672643"/>
            <a:ext cx="4369478" cy="2810809"/>
          </a:xfrm>
          <a:prstGeom prst="rect">
            <a:avLst/>
          </a:prstGeom>
          <a:noFill/>
          <a:ln w="10000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82880" tIns="91440" rIns="91440" bIns="9144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878102" fontAlgn="base">
              <a:spcBef>
                <a:spcPts val="600"/>
              </a:spcBef>
              <a:spcAft>
                <a:spcPts val="600"/>
              </a:spcAft>
              <a:defRPr/>
            </a:pPr>
            <a:r>
              <a:rPr lang="en-US" sz="1600" kern="0">
                <a:solidFill>
                  <a:schemeClr val="tx2"/>
                </a:solidFill>
                <a:latin typeface="+mj-lt"/>
                <a:ea typeface="Segoe UI" pitchFamily="34" charset="0"/>
                <a:cs typeface="Segoe UI" pitchFamily="34" charset="0"/>
              </a:rPr>
              <a:t>Format: </a:t>
            </a:r>
            <a:r>
              <a:rPr lang="en-US" sz="1600" kern="0">
                <a:ea typeface="Segoe UI" pitchFamily="34" charset="0"/>
                <a:cs typeface="Segoe UI" pitchFamily="34" charset="0"/>
              </a:rPr>
              <a:t>60-180-minute Microsoft Teams call</a:t>
            </a:r>
          </a:p>
          <a:p>
            <a:pPr defTabSz="878102" fontAlgn="base">
              <a:spcBef>
                <a:spcPts val="600"/>
              </a:spcBef>
              <a:spcAft>
                <a:spcPts val="600"/>
              </a:spcAft>
              <a:defRPr/>
            </a:pPr>
            <a:r>
              <a:rPr lang="en-US" sz="1600" kern="0">
                <a:solidFill>
                  <a:schemeClr val="tx2"/>
                </a:solidFill>
                <a:latin typeface="+mj-lt"/>
                <a:ea typeface="Segoe UI" pitchFamily="34" charset="0"/>
                <a:cs typeface="Segoe UI" pitchFamily="34" charset="0"/>
              </a:rPr>
              <a:t>Attendees:</a:t>
            </a:r>
          </a:p>
          <a:p>
            <a:pPr marL="285750" indent="-285750" defTabSz="878102" fontAlgn="base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GB" sz="1600" kern="0">
                <a:cs typeface="Segoe UI" pitchFamily="34" charset="0"/>
              </a:rPr>
              <a:t>Functional and technical architects</a:t>
            </a:r>
          </a:p>
          <a:p>
            <a:pPr marL="285750" indent="-285750" defTabSz="878102" fontAlgn="base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GB" sz="1600" kern="0">
                <a:cs typeface="Segoe UI" pitchFamily="34" charset="0"/>
              </a:rPr>
              <a:t>Functional, Technical and Development Leads</a:t>
            </a:r>
          </a:p>
          <a:p>
            <a:pPr marL="285750" indent="-285750" defTabSz="878102" fontAlgn="base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GB" sz="1600" kern="0">
                <a:cs typeface="Segoe UI" pitchFamily="34" charset="0"/>
              </a:rPr>
              <a:t>Optionally, Project managers</a:t>
            </a:r>
            <a:endParaRPr lang="en-US" sz="1600" kern="0">
              <a:cs typeface="Segoe UI" pitchFamily="34" charset="0"/>
            </a:endParaRPr>
          </a:p>
        </p:txBody>
      </p:sp>
      <p:sp>
        <p:nvSpPr>
          <p:cNvPr id="104" name="Rectangle: Rounded Corners 12">
            <a:extLst>
              <a:ext uri="{FF2B5EF4-FFF2-40B4-BE49-F238E27FC236}">
                <a16:creationId xmlns:a16="http://schemas.microsoft.com/office/drawing/2014/main" id="{1F9281E3-1F1D-4B02-A80D-710A4BB90B7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6128174" y="2658464"/>
            <a:ext cx="105306" cy="911078"/>
          </a:xfrm>
          <a:custGeom>
            <a:avLst/>
            <a:gdLst>
              <a:gd name="connsiteX0" fmla="*/ 0 w 301482"/>
              <a:gd name="connsiteY0" fmla="*/ 150741 h 1304170"/>
              <a:gd name="connsiteX1" fmla="*/ 150741 w 301482"/>
              <a:gd name="connsiteY1" fmla="*/ 0 h 1304170"/>
              <a:gd name="connsiteX2" fmla="*/ 150741 w 301482"/>
              <a:gd name="connsiteY2" fmla="*/ 0 h 1304170"/>
              <a:gd name="connsiteX3" fmla="*/ 301482 w 301482"/>
              <a:gd name="connsiteY3" fmla="*/ 150741 h 1304170"/>
              <a:gd name="connsiteX4" fmla="*/ 301482 w 301482"/>
              <a:gd name="connsiteY4" fmla="*/ 1153429 h 1304170"/>
              <a:gd name="connsiteX5" fmla="*/ 150741 w 301482"/>
              <a:gd name="connsiteY5" fmla="*/ 1304170 h 1304170"/>
              <a:gd name="connsiteX6" fmla="*/ 150741 w 301482"/>
              <a:gd name="connsiteY6" fmla="*/ 1304170 h 1304170"/>
              <a:gd name="connsiteX7" fmla="*/ 0 w 301482"/>
              <a:gd name="connsiteY7" fmla="*/ 1153429 h 1304170"/>
              <a:gd name="connsiteX8" fmla="*/ 0 w 301482"/>
              <a:gd name="connsiteY8" fmla="*/ 150741 h 1304170"/>
              <a:gd name="connsiteX0" fmla="*/ 150741 w 301482"/>
              <a:gd name="connsiteY0" fmla="*/ 0 h 1304170"/>
              <a:gd name="connsiteX1" fmla="*/ 301482 w 301482"/>
              <a:gd name="connsiteY1" fmla="*/ 150741 h 1304170"/>
              <a:gd name="connsiteX2" fmla="*/ 301482 w 301482"/>
              <a:gd name="connsiteY2" fmla="*/ 1153429 h 1304170"/>
              <a:gd name="connsiteX3" fmla="*/ 150741 w 301482"/>
              <a:gd name="connsiteY3" fmla="*/ 1304170 h 1304170"/>
              <a:gd name="connsiteX4" fmla="*/ 150741 w 301482"/>
              <a:gd name="connsiteY4" fmla="*/ 1304170 h 1304170"/>
              <a:gd name="connsiteX5" fmla="*/ 0 w 301482"/>
              <a:gd name="connsiteY5" fmla="*/ 1153429 h 1304170"/>
              <a:gd name="connsiteX6" fmla="*/ 0 w 301482"/>
              <a:gd name="connsiteY6" fmla="*/ 150741 h 1304170"/>
              <a:gd name="connsiteX7" fmla="*/ 150741 w 301482"/>
              <a:gd name="connsiteY7" fmla="*/ 0 h 1304170"/>
              <a:gd name="connsiteX8" fmla="*/ 242181 w 301482"/>
              <a:gd name="connsiteY8" fmla="*/ 91440 h 1304170"/>
              <a:gd name="connsiteX0" fmla="*/ 150741 w 301482"/>
              <a:gd name="connsiteY0" fmla="*/ 0 h 1304170"/>
              <a:gd name="connsiteX1" fmla="*/ 301482 w 301482"/>
              <a:gd name="connsiteY1" fmla="*/ 150741 h 1304170"/>
              <a:gd name="connsiteX2" fmla="*/ 301482 w 301482"/>
              <a:gd name="connsiteY2" fmla="*/ 1153429 h 1304170"/>
              <a:gd name="connsiteX3" fmla="*/ 150741 w 301482"/>
              <a:gd name="connsiteY3" fmla="*/ 1304170 h 1304170"/>
              <a:gd name="connsiteX4" fmla="*/ 150741 w 301482"/>
              <a:gd name="connsiteY4" fmla="*/ 1304170 h 1304170"/>
              <a:gd name="connsiteX5" fmla="*/ 0 w 301482"/>
              <a:gd name="connsiteY5" fmla="*/ 1153429 h 1304170"/>
              <a:gd name="connsiteX6" fmla="*/ 0 w 301482"/>
              <a:gd name="connsiteY6" fmla="*/ 150741 h 1304170"/>
              <a:gd name="connsiteX7" fmla="*/ 150741 w 301482"/>
              <a:gd name="connsiteY7" fmla="*/ 0 h 1304170"/>
              <a:gd name="connsiteX0" fmla="*/ 150741 w 301482"/>
              <a:gd name="connsiteY0" fmla="*/ 0 h 1304170"/>
              <a:gd name="connsiteX1" fmla="*/ 301482 w 301482"/>
              <a:gd name="connsiteY1" fmla="*/ 150741 h 1304170"/>
              <a:gd name="connsiteX2" fmla="*/ 301482 w 301482"/>
              <a:gd name="connsiteY2" fmla="*/ 1153429 h 1304170"/>
              <a:gd name="connsiteX3" fmla="*/ 150741 w 301482"/>
              <a:gd name="connsiteY3" fmla="*/ 1304170 h 1304170"/>
              <a:gd name="connsiteX4" fmla="*/ 150741 w 301482"/>
              <a:gd name="connsiteY4" fmla="*/ 1304170 h 1304170"/>
              <a:gd name="connsiteX5" fmla="*/ 0 w 301482"/>
              <a:gd name="connsiteY5" fmla="*/ 1153429 h 1304170"/>
              <a:gd name="connsiteX6" fmla="*/ 0 w 301482"/>
              <a:gd name="connsiteY6" fmla="*/ 150741 h 1304170"/>
              <a:gd name="connsiteX0" fmla="*/ 150741 w 301482"/>
              <a:gd name="connsiteY0" fmla="*/ 0 h 1304170"/>
              <a:gd name="connsiteX1" fmla="*/ 301482 w 301482"/>
              <a:gd name="connsiteY1" fmla="*/ 150741 h 1304170"/>
              <a:gd name="connsiteX2" fmla="*/ 301482 w 301482"/>
              <a:gd name="connsiteY2" fmla="*/ 1153429 h 1304170"/>
              <a:gd name="connsiteX3" fmla="*/ 150741 w 301482"/>
              <a:gd name="connsiteY3" fmla="*/ 1304170 h 1304170"/>
              <a:gd name="connsiteX4" fmla="*/ 150741 w 301482"/>
              <a:gd name="connsiteY4" fmla="*/ 1304170 h 1304170"/>
              <a:gd name="connsiteX5" fmla="*/ 0 w 301482"/>
              <a:gd name="connsiteY5" fmla="*/ 1153429 h 1304170"/>
              <a:gd name="connsiteX0" fmla="*/ 0 w 150741"/>
              <a:gd name="connsiteY0" fmla="*/ 0 h 1304170"/>
              <a:gd name="connsiteX1" fmla="*/ 150741 w 150741"/>
              <a:gd name="connsiteY1" fmla="*/ 150741 h 1304170"/>
              <a:gd name="connsiteX2" fmla="*/ 150741 w 150741"/>
              <a:gd name="connsiteY2" fmla="*/ 1153429 h 1304170"/>
              <a:gd name="connsiteX3" fmla="*/ 0 w 150741"/>
              <a:gd name="connsiteY3" fmla="*/ 1304170 h 1304170"/>
              <a:gd name="connsiteX4" fmla="*/ 0 w 150741"/>
              <a:gd name="connsiteY4" fmla="*/ 1304170 h 13041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50741" h="1304170">
                <a:moveTo>
                  <a:pt x="0" y="0"/>
                </a:moveTo>
                <a:cubicBezTo>
                  <a:pt x="83252" y="0"/>
                  <a:pt x="150741" y="67489"/>
                  <a:pt x="150741" y="150741"/>
                </a:cubicBezTo>
                <a:lnTo>
                  <a:pt x="150741" y="1153429"/>
                </a:lnTo>
                <a:cubicBezTo>
                  <a:pt x="150741" y="1236681"/>
                  <a:pt x="83252" y="1304170"/>
                  <a:pt x="0" y="1304170"/>
                </a:cubicBezTo>
                <a:lnTo>
                  <a:pt x="0" y="1304170"/>
                </a:lnTo>
              </a:path>
            </a:pathLst>
          </a:custGeom>
          <a:solidFill>
            <a:schemeClr val="accent1"/>
          </a:solidFill>
        </p:spPr>
        <p:txBody>
          <a:bodyPr wrap="square" lIns="0" tIns="0" rIns="0" bIns="0" rtlCol="0" anchor="ctr">
            <a:noAutofit/>
          </a:bodyPr>
          <a:lstStyle/>
          <a:p>
            <a:pPr algn="ctr"/>
            <a:endParaRPr lang="en-US" sz="1765">
              <a:latin typeface="Segoe UI"/>
            </a:endParaRPr>
          </a:p>
        </p:txBody>
      </p:sp>
      <p:cxnSp>
        <p:nvCxnSpPr>
          <p:cNvPr id="105" name="Straight Connector 104">
            <a:extLst>
              <a:ext uri="{FF2B5EF4-FFF2-40B4-BE49-F238E27FC236}">
                <a16:creationId xmlns:a16="http://schemas.microsoft.com/office/drawing/2014/main" id="{659FEA74-C3DC-4508-BE4F-3AF4CD4B39B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467038" y="5412575"/>
            <a:ext cx="5664073" cy="0"/>
          </a:xfrm>
          <a:prstGeom prst="line">
            <a:avLst/>
          </a:prstGeom>
          <a:noFill/>
          <a:ln w="3175">
            <a:solidFill>
              <a:schemeClr val="bg1">
                <a:lumMod val="85000"/>
              </a:schemeClr>
            </a:solidFill>
            <a:prstDash val="dash"/>
          </a:ln>
        </p:spPr>
      </p:cxnSp>
      <p:grpSp>
        <p:nvGrpSpPr>
          <p:cNvPr id="108" name="Group 107">
            <a:extLst>
              <a:ext uri="{FF2B5EF4-FFF2-40B4-BE49-F238E27FC236}">
                <a16:creationId xmlns:a16="http://schemas.microsoft.com/office/drawing/2014/main" id="{1968FCB1-4939-4B68-8DC9-516AB0B3F2D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441838" y="5446146"/>
            <a:ext cx="5613527" cy="522386"/>
            <a:chOff x="506805" y="5407363"/>
            <a:chExt cx="5613527" cy="522386"/>
          </a:xfrm>
        </p:grpSpPr>
        <p:sp>
          <p:nvSpPr>
            <p:cNvPr id="109" name="Rectangle 108">
              <a:extLst>
                <a:ext uri="{FF2B5EF4-FFF2-40B4-BE49-F238E27FC236}">
                  <a16:creationId xmlns:a16="http://schemas.microsoft.com/office/drawing/2014/main" id="{3E4DFA63-3F0D-487B-A03F-3BEC2E1DBE83}"/>
                </a:ext>
              </a:extLst>
            </p:cNvPr>
            <p:cNvSpPr/>
            <p:nvPr/>
          </p:nvSpPr>
          <p:spPr>
            <a:xfrm>
              <a:off x="506805" y="5407363"/>
              <a:ext cx="5613527" cy="522386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05936" rtlCol="0" anchor="ctr"/>
            <a:lstStyle/>
            <a:p>
              <a:r>
                <a:rPr lang="en-GB" sz="1600">
                  <a:solidFill>
                    <a:schemeClr val="tx1"/>
                  </a:solidFill>
                </a:rPr>
                <a:t>Next Steps</a:t>
              </a:r>
            </a:p>
          </p:txBody>
        </p:sp>
        <p:grpSp>
          <p:nvGrpSpPr>
            <p:cNvPr id="110" name="Group 109">
              <a:extLst>
                <a:ext uri="{FF2B5EF4-FFF2-40B4-BE49-F238E27FC236}">
                  <a16:creationId xmlns:a16="http://schemas.microsoft.com/office/drawing/2014/main" id="{D7AF8044-6ECB-4939-9222-5609599E7C63}"/>
                </a:ext>
              </a:extLst>
            </p:cNvPr>
            <p:cNvGrpSpPr/>
            <p:nvPr/>
          </p:nvGrpSpPr>
          <p:grpSpPr>
            <a:xfrm>
              <a:off x="730757" y="5505500"/>
              <a:ext cx="326112" cy="326112"/>
              <a:chOff x="115497" y="1864737"/>
              <a:chExt cx="461744" cy="461744"/>
            </a:xfrm>
            <a:solidFill>
              <a:schemeClr val="tx2"/>
            </a:solidFill>
          </p:grpSpPr>
          <p:sp>
            <p:nvSpPr>
              <p:cNvPr id="111" name="Freeform: Shape 110">
                <a:extLst>
                  <a:ext uri="{FF2B5EF4-FFF2-40B4-BE49-F238E27FC236}">
                    <a16:creationId xmlns:a16="http://schemas.microsoft.com/office/drawing/2014/main" id="{82885EBC-15AB-4C6C-B918-86D23BF5CC97}"/>
                  </a:ext>
                </a:extLst>
              </p:cNvPr>
              <p:cNvSpPr/>
              <p:nvPr/>
            </p:nvSpPr>
            <p:spPr bwMode="auto">
              <a:xfrm>
                <a:off x="115497" y="1864737"/>
                <a:ext cx="461744" cy="461744"/>
              </a:xfrm>
              <a:custGeom>
                <a:avLst/>
                <a:gdLst>
                  <a:gd name="connsiteX0" fmla="*/ 230872 w 461744"/>
                  <a:gd name="connsiteY0" fmla="*/ 30738 h 461744"/>
                  <a:gd name="connsiteX1" fmla="*/ 30738 w 461744"/>
                  <a:gd name="connsiteY1" fmla="*/ 230872 h 461744"/>
                  <a:gd name="connsiteX2" fmla="*/ 230872 w 461744"/>
                  <a:gd name="connsiteY2" fmla="*/ 431006 h 461744"/>
                  <a:gd name="connsiteX3" fmla="*/ 431006 w 461744"/>
                  <a:gd name="connsiteY3" fmla="*/ 230872 h 461744"/>
                  <a:gd name="connsiteX4" fmla="*/ 230872 w 461744"/>
                  <a:gd name="connsiteY4" fmla="*/ 30738 h 461744"/>
                  <a:gd name="connsiteX5" fmla="*/ 230872 w 461744"/>
                  <a:gd name="connsiteY5" fmla="*/ 0 h 461744"/>
                  <a:gd name="connsiteX6" fmla="*/ 461744 w 461744"/>
                  <a:gd name="connsiteY6" fmla="*/ 230872 h 461744"/>
                  <a:gd name="connsiteX7" fmla="*/ 230872 w 461744"/>
                  <a:gd name="connsiteY7" fmla="*/ 461744 h 461744"/>
                  <a:gd name="connsiteX8" fmla="*/ 0 w 461744"/>
                  <a:gd name="connsiteY8" fmla="*/ 230872 h 461744"/>
                  <a:gd name="connsiteX9" fmla="*/ 230872 w 461744"/>
                  <a:gd name="connsiteY9" fmla="*/ 0 h 4617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61744" h="461744">
                    <a:moveTo>
                      <a:pt x="230872" y="30738"/>
                    </a:moveTo>
                    <a:cubicBezTo>
                      <a:pt x="120341" y="30738"/>
                      <a:pt x="30738" y="120341"/>
                      <a:pt x="30738" y="230872"/>
                    </a:cubicBezTo>
                    <a:cubicBezTo>
                      <a:pt x="30738" y="341403"/>
                      <a:pt x="120341" y="431006"/>
                      <a:pt x="230872" y="431006"/>
                    </a:cubicBezTo>
                    <a:cubicBezTo>
                      <a:pt x="341403" y="431006"/>
                      <a:pt x="431006" y="341403"/>
                      <a:pt x="431006" y="230872"/>
                    </a:cubicBezTo>
                    <a:cubicBezTo>
                      <a:pt x="431006" y="120341"/>
                      <a:pt x="341403" y="30738"/>
                      <a:pt x="230872" y="30738"/>
                    </a:cubicBezTo>
                    <a:close/>
                    <a:moveTo>
                      <a:pt x="230872" y="0"/>
                    </a:moveTo>
                    <a:cubicBezTo>
                      <a:pt x="358379" y="0"/>
                      <a:pt x="461744" y="103365"/>
                      <a:pt x="461744" y="230872"/>
                    </a:cubicBezTo>
                    <a:cubicBezTo>
                      <a:pt x="461744" y="358379"/>
                      <a:pt x="358379" y="461744"/>
                      <a:pt x="230872" y="461744"/>
                    </a:cubicBezTo>
                    <a:cubicBezTo>
                      <a:pt x="103365" y="461744"/>
                      <a:pt x="0" y="358379"/>
                      <a:pt x="0" y="230872"/>
                    </a:cubicBezTo>
                    <a:cubicBezTo>
                      <a:pt x="0" y="103365"/>
                      <a:pt x="103365" y="0"/>
                      <a:pt x="230872" y="0"/>
                    </a:cubicBezTo>
                    <a:close/>
                  </a:path>
                </a:pathLst>
              </a:custGeom>
              <a:grpFill/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240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112" name="Graphic 77">
                <a:extLst>
                  <a:ext uri="{FF2B5EF4-FFF2-40B4-BE49-F238E27FC236}">
                    <a16:creationId xmlns:a16="http://schemas.microsoft.com/office/drawing/2014/main" id="{FF55BADD-5681-4A71-BB66-099FE1C51ACE}"/>
                  </a:ext>
                </a:extLst>
              </p:cNvPr>
              <p:cNvSpPr/>
              <p:nvPr/>
            </p:nvSpPr>
            <p:spPr>
              <a:xfrm>
                <a:off x="230796" y="2004258"/>
                <a:ext cx="243074" cy="175239"/>
              </a:xfrm>
              <a:custGeom>
                <a:avLst/>
                <a:gdLst>
                  <a:gd name="connsiteX0" fmla="*/ 349767 w 409575"/>
                  <a:gd name="connsiteY0" fmla="*/ 0 h 295275"/>
                  <a:gd name="connsiteX1" fmla="*/ 155475 w 409575"/>
                  <a:gd name="connsiteY1" fmla="*/ 182790 h 295275"/>
                  <a:gd name="connsiteX2" fmla="*/ 55043 w 409575"/>
                  <a:gd name="connsiteY2" fmla="*/ 107415 h 295275"/>
                  <a:gd name="connsiteX3" fmla="*/ 0 w 409575"/>
                  <a:gd name="connsiteY3" fmla="*/ 181147 h 295275"/>
                  <a:gd name="connsiteX4" fmla="*/ 131445 w 409575"/>
                  <a:gd name="connsiteY4" fmla="*/ 279731 h 295275"/>
                  <a:gd name="connsiteX5" fmla="*/ 163279 w 409575"/>
                  <a:gd name="connsiteY5" fmla="*/ 303556 h 295275"/>
                  <a:gd name="connsiteX6" fmla="*/ 191623 w 409575"/>
                  <a:gd name="connsiteY6" fmla="*/ 275418 h 295275"/>
                  <a:gd name="connsiteX7" fmla="*/ 415079 w 409575"/>
                  <a:gd name="connsiteY7" fmla="*/ 65106 h 295275"/>
                  <a:gd name="connsiteX8" fmla="*/ 349767 w 409575"/>
                  <a:gd name="connsiteY8" fmla="*/ 0 h 2952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09575" h="295275">
                    <a:moveTo>
                      <a:pt x="349767" y="0"/>
                    </a:moveTo>
                    <a:cubicBezTo>
                      <a:pt x="290526" y="59369"/>
                      <a:pt x="220475" y="120315"/>
                      <a:pt x="155475" y="182790"/>
                    </a:cubicBezTo>
                    <a:lnTo>
                      <a:pt x="55043" y="107415"/>
                    </a:lnTo>
                    <a:lnTo>
                      <a:pt x="0" y="181147"/>
                    </a:lnTo>
                    <a:lnTo>
                      <a:pt x="131445" y="279731"/>
                    </a:lnTo>
                    <a:lnTo>
                      <a:pt x="163279" y="303556"/>
                    </a:lnTo>
                    <a:lnTo>
                      <a:pt x="191623" y="275418"/>
                    </a:lnTo>
                    <a:cubicBezTo>
                      <a:pt x="259626" y="207269"/>
                      <a:pt x="342874" y="137467"/>
                      <a:pt x="415079" y="65106"/>
                    </a:cubicBezTo>
                    <a:lnTo>
                      <a:pt x="349767" y="0"/>
                    </a:lnTo>
                    <a:close/>
                  </a:path>
                </a:pathLst>
              </a:custGeom>
              <a:grpFill/>
              <a:ln w="657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grpSp>
        <p:nvGrpSpPr>
          <p:cNvPr id="98" name="Group 97">
            <a:extLst>
              <a:ext uri="{FF2B5EF4-FFF2-40B4-BE49-F238E27FC236}">
                <a16:creationId xmlns:a16="http://schemas.microsoft.com/office/drawing/2014/main" id="{AED3DC3C-2C35-484A-A44A-882CFB67250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441838" y="3677597"/>
            <a:ext cx="5613527" cy="522386"/>
            <a:chOff x="506805" y="3651313"/>
            <a:chExt cx="5613527" cy="522386"/>
          </a:xfrm>
        </p:grpSpPr>
        <p:sp>
          <p:nvSpPr>
            <p:cNvPr id="99" name="Rectangle 98">
              <a:extLst>
                <a:ext uri="{FF2B5EF4-FFF2-40B4-BE49-F238E27FC236}">
                  <a16:creationId xmlns:a16="http://schemas.microsoft.com/office/drawing/2014/main" id="{FC4B0DC5-704F-4EF8-8C8D-57B005D97A11}"/>
                </a:ext>
              </a:extLst>
            </p:cNvPr>
            <p:cNvSpPr/>
            <p:nvPr/>
          </p:nvSpPr>
          <p:spPr>
            <a:xfrm>
              <a:off x="506805" y="3651313"/>
              <a:ext cx="5613527" cy="522386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05936" tIns="45720" rIns="91440" bIns="45720" rtlCol="0" anchor="ctr"/>
            <a:lstStyle/>
            <a:p>
              <a:r>
                <a:rPr lang="en-GB" sz="1600">
                  <a:solidFill>
                    <a:schemeClr val="tx1"/>
                  </a:solidFill>
                </a:rPr>
                <a:t>Brainstorm alternative solution, ISV or workaround</a:t>
              </a:r>
            </a:p>
          </p:txBody>
        </p:sp>
        <p:grpSp>
          <p:nvGrpSpPr>
            <p:cNvPr id="106" name="Group 105">
              <a:extLst>
                <a:ext uri="{FF2B5EF4-FFF2-40B4-BE49-F238E27FC236}">
                  <a16:creationId xmlns:a16="http://schemas.microsoft.com/office/drawing/2014/main" id="{83C72D36-354B-434F-8B1C-38C7DCE2E832}"/>
                </a:ext>
              </a:extLst>
            </p:cNvPr>
            <p:cNvGrpSpPr/>
            <p:nvPr/>
          </p:nvGrpSpPr>
          <p:grpSpPr>
            <a:xfrm>
              <a:off x="730757" y="3749450"/>
              <a:ext cx="326112" cy="326112"/>
              <a:chOff x="115497" y="1864737"/>
              <a:chExt cx="461744" cy="461744"/>
            </a:xfrm>
            <a:solidFill>
              <a:schemeClr val="tx2"/>
            </a:solidFill>
          </p:grpSpPr>
          <p:sp>
            <p:nvSpPr>
              <p:cNvPr id="107" name="Freeform: Shape 106">
                <a:extLst>
                  <a:ext uri="{FF2B5EF4-FFF2-40B4-BE49-F238E27FC236}">
                    <a16:creationId xmlns:a16="http://schemas.microsoft.com/office/drawing/2014/main" id="{84085650-8518-468F-8C8A-021578374871}"/>
                  </a:ext>
                </a:extLst>
              </p:cNvPr>
              <p:cNvSpPr/>
              <p:nvPr/>
            </p:nvSpPr>
            <p:spPr bwMode="auto">
              <a:xfrm>
                <a:off x="115497" y="1864737"/>
                <a:ext cx="461744" cy="461744"/>
              </a:xfrm>
              <a:custGeom>
                <a:avLst/>
                <a:gdLst>
                  <a:gd name="connsiteX0" fmla="*/ 230872 w 461744"/>
                  <a:gd name="connsiteY0" fmla="*/ 30738 h 461744"/>
                  <a:gd name="connsiteX1" fmla="*/ 30738 w 461744"/>
                  <a:gd name="connsiteY1" fmla="*/ 230872 h 461744"/>
                  <a:gd name="connsiteX2" fmla="*/ 230872 w 461744"/>
                  <a:gd name="connsiteY2" fmla="*/ 431006 h 461744"/>
                  <a:gd name="connsiteX3" fmla="*/ 431006 w 461744"/>
                  <a:gd name="connsiteY3" fmla="*/ 230872 h 461744"/>
                  <a:gd name="connsiteX4" fmla="*/ 230872 w 461744"/>
                  <a:gd name="connsiteY4" fmla="*/ 30738 h 461744"/>
                  <a:gd name="connsiteX5" fmla="*/ 230872 w 461744"/>
                  <a:gd name="connsiteY5" fmla="*/ 0 h 461744"/>
                  <a:gd name="connsiteX6" fmla="*/ 461744 w 461744"/>
                  <a:gd name="connsiteY6" fmla="*/ 230872 h 461744"/>
                  <a:gd name="connsiteX7" fmla="*/ 230872 w 461744"/>
                  <a:gd name="connsiteY7" fmla="*/ 461744 h 461744"/>
                  <a:gd name="connsiteX8" fmla="*/ 0 w 461744"/>
                  <a:gd name="connsiteY8" fmla="*/ 230872 h 461744"/>
                  <a:gd name="connsiteX9" fmla="*/ 230872 w 461744"/>
                  <a:gd name="connsiteY9" fmla="*/ 0 h 4617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61744" h="461744">
                    <a:moveTo>
                      <a:pt x="230872" y="30738"/>
                    </a:moveTo>
                    <a:cubicBezTo>
                      <a:pt x="120341" y="30738"/>
                      <a:pt x="30738" y="120341"/>
                      <a:pt x="30738" y="230872"/>
                    </a:cubicBezTo>
                    <a:cubicBezTo>
                      <a:pt x="30738" y="341403"/>
                      <a:pt x="120341" y="431006"/>
                      <a:pt x="230872" y="431006"/>
                    </a:cubicBezTo>
                    <a:cubicBezTo>
                      <a:pt x="341403" y="431006"/>
                      <a:pt x="431006" y="341403"/>
                      <a:pt x="431006" y="230872"/>
                    </a:cubicBezTo>
                    <a:cubicBezTo>
                      <a:pt x="431006" y="120341"/>
                      <a:pt x="341403" y="30738"/>
                      <a:pt x="230872" y="30738"/>
                    </a:cubicBezTo>
                    <a:close/>
                    <a:moveTo>
                      <a:pt x="230872" y="0"/>
                    </a:moveTo>
                    <a:cubicBezTo>
                      <a:pt x="358379" y="0"/>
                      <a:pt x="461744" y="103365"/>
                      <a:pt x="461744" y="230872"/>
                    </a:cubicBezTo>
                    <a:cubicBezTo>
                      <a:pt x="461744" y="358379"/>
                      <a:pt x="358379" y="461744"/>
                      <a:pt x="230872" y="461744"/>
                    </a:cubicBezTo>
                    <a:cubicBezTo>
                      <a:pt x="103365" y="461744"/>
                      <a:pt x="0" y="358379"/>
                      <a:pt x="0" y="230872"/>
                    </a:cubicBezTo>
                    <a:cubicBezTo>
                      <a:pt x="0" y="103365"/>
                      <a:pt x="103365" y="0"/>
                      <a:pt x="230872" y="0"/>
                    </a:cubicBezTo>
                    <a:close/>
                  </a:path>
                </a:pathLst>
              </a:custGeom>
              <a:grpFill/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240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113" name="Graphic 77">
                <a:extLst>
                  <a:ext uri="{FF2B5EF4-FFF2-40B4-BE49-F238E27FC236}">
                    <a16:creationId xmlns:a16="http://schemas.microsoft.com/office/drawing/2014/main" id="{5FEB52B2-E0FA-46C6-B934-58BC6077D08E}"/>
                  </a:ext>
                </a:extLst>
              </p:cNvPr>
              <p:cNvSpPr/>
              <p:nvPr/>
            </p:nvSpPr>
            <p:spPr>
              <a:xfrm>
                <a:off x="230796" y="2004258"/>
                <a:ext cx="243074" cy="175239"/>
              </a:xfrm>
              <a:custGeom>
                <a:avLst/>
                <a:gdLst>
                  <a:gd name="connsiteX0" fmla="*/ 349767 w 409575"/>
                  <a:gd name="connsiteY0" fmla="*/ 0 h 295275"/>
                  <a:gd name="connsiteX1" fmla="*/ 155475 w 409575"/>
                  <a:gd name="connsiteY1" fmla="*/ 182790 h 295275"/>
                  <a:gd name="connsiteX2" fmla="*/ 55043 w 409575"/>
                  <a:gd name="connsiteY2" fmla="*/ 107415 h 295275"/>
                  <a:gd name="connsiteX3" fmla="*/ 0 w 409575"/>
                  <a:gd name="connsiteY3" fmla="*/ 181147 h 295275"/>
                  <a:gd name="connsiteX4" fmla="*/ 131445 w 409575"/>
                  <a:gd name="connsiteY4" fmla="*/ 279731 h 295275"/>
                  <a:gd name="connsiteX5" fmla="*/ 163279 w 409575"/>
                  <a:gd name="connsiteY5" fmla="*/ 303556 h 295275"/>
                  <a:gd name="connsiteX6" fmla="*/ 191623 w 409575"/>
                  <a:gd name="connsiteY6" fmla="*/ 275418 h 295275"/>
                  <a:gd name="connsiteX7" fmla="*/ 415079 w 409575"/>
                  <a:gd name="connsiteY7" fmla="*/ 65106 h 295275"/>
                  <a:gd name="connsiteX8" fmla="*/ 349767 w 409575"/>
                  <a:gd name="connsiteY8" fmla="*/ 0 h 2952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09575" h="295275">
                    <a:moveTo>
                      <a:pt x="349767" y="0"/>
                    </a:moveTo>
                    <a:cubicBezTo>
                      <a:pt x="290526" y="59369"/>
                      <a:pt x="220475" y="120315"/>
                      <a:pt x="155475" y="182790"/>
                    </a:cubicBezTo>
                    <a:lnTo>
                      <a:pt x="55043" y="107415"/>
                    </a:lnTo>
                    <a:lnTo>
                      <a:pt x="0" y="181147"/>
                    </a:lnTo>
                    <a:lnTo>
                      <a:pt x="131445" y="279731"/>
                    </a:lnTo>
                    <a:lnTo>
                      <a:pt x="163279" y="303556"/>
                    </a:lnTo>
                    <a:lnTo>
                      <a:pt x="191623" y="275418"/>
                    </a:lnTo>
                    <a:cubicBezTo>
                      <a:pt x="259626" y="207269"/>
                      <a:pt x="342874" y="137467"/>
                      <a:pt x="415079" y="65106"/>
                    </a:cubicBezTo>
                    <a:lnTo>
                      <a:pt x="349767" y="0"/>
                    </a:lnTo>
                    <a:close/>
                  </a:path>
                </a:pathLst>
              </a:custGeom>
              <a:grpFill/>
              <a:ln w="657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grpSp>
        <p:nvGrpSpPr>
          <p:cNvPr id="114" name="Group 113">
            <a:extLst>
              <a:ext uri="{FF2B5EF4-FFF2-40B4-BE49-F238E27FC236}">
                <a16:creationId xmlns:a16="http://schemas.microsoft.com/office/drawing/2014/main" id="{38E6168B-17A2-40FF-90C7-264C198229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441838" y="4265309"/>
            <a:ext cx="5613527" cy="522386"/>
            <a:chOff x="506805" y="3651313"/>
            <a:chExt cx="5613527" cy="522386"/>
          </a:xfrm>
        </p:grpSpPr>
        <p:sp>
          <p:nvSpPr>
            <p:cNvPr id="115" name="Rectangle 114">
              <a:extLst>
                <a:ext uri="{FF2B5EF4-FFF2-40B4-BE49-F238E27FC236}">
                  <a16:creationId xmlns:a16="http://schemas.microsoft.com/office/drawing/2014/main" id="{6A8D80DA-9DE8-4C5A-B709-2F883CCAFD13}"/>
                </a:ext>
              </a:extLst>
            </p:cNvPr>
            <p:cNvSpPr/>
            <p:nvPr/>
          </p:nvSpPr>
          <p:spPr>
            <a:xfrm>
              <a:off x="506805" y="3651313"/>
              <a:ext cx="5613527" cy="522386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05936" rtlCol="0" anchor="ctr"/>
            <a:lstStyle/>
            <a:p>
              <a:r>
                <a:rPr lang="en-GB" sz="1600">
                  <a:solidFill>
                    <a:schemeClr val="tx1"/>
                  </a:solidFill>
                </a:rPr>
                <a:t>Review all gaps and potential dependencies</a:t>
              </a:r>
            </a:p>
          </p:txBody>
        </p:sp>
        <p:grpSp>
          <p:nvGrpSpPr>
            <p:cNvPr id="116" name="Group 115">
              <a:extLst>
                <a:ext uri="{FF2B5EF4-FFF2-40B4-BE49-F238E27FC236}">
                  <a16:creationId xmlns:a16="http://schemas.microsoft.com/office/drawing/2014/main" id="{BA7C836A-DA15-44F2-B894-E577794C6876}"/>
                </a:ext>
              </a:extLst>
            </p:cNvPr>
            <p:cNvGrpSpPr/>
            <p:nvPr/>
          </p:nvGrpSpPr>
          <p:grpSpPr>
            <a:xfrm>
              <a:off x="730757" y="3749450"/>
              <a:ext cx="326112" cy="326112"/>
              <a:chOff x="115497" y="1864737"/>
              <a:chExt cx="461744" cy="461744"/>
            </a:xfrm>
            <a:solidFill>
              <a:schemeClr val="tx2"/>
            </a:solidFill>
          </p:grpSpPr>
          <p:sp>
            <p:nvSpPr>
              <p:cNvPr id="117" name="Freeform: Shape 116">
                <a:extLst>
                  <a:ext uri="{FF2B5EF4-FFF2-40B4-BE49-F238E27FC236}">
                    <a16:creationId xmlns:a16="http://schemas.microsoft.com/office/drawing/2014/main" id="{049335D5-C284-44A2-A891-E27552C6306A}"/>
                  </a:ext>
                </a:extLst>
              </p:cNvPr>
              <p:cNvSpPr/>
              <p:nvPr/>
            </p:nvSpPr>
            <p:spPr bwMode="auto">
              <a:xfrm>
                <a:off x="115497" y="1864737"/>
                <a:ext cx="461744" cy="461744"/>
              </a:xfrm>
              <a:custGeom>
                <a:avLst/>
                <a:gdLst>
                  <a:gd name="connsiteX0" fmla="*/ 230872 w 461744"/>
                  <a:gd name="connsiteY0" fmla="*/ 30738 h 461744"/>
                  <a:gd name="connsiteX1" fmla="*/ 30738 w 461744"/>
                  <a:gd name="connsiteY1" fmla="*/ 230872 h 461744"/>
                  <a:gd name="connsiteX2" fmla="*/ 230872 w 461744"/>
                  <a:gd name="connsiteY2" fmla="*/ 431006 h 461744"/>
                  <a:gd name="connsiteX3" fmla="*/ 431006 w 461744"/>
                  <a:gd name="connsiteY3" fmla="*/ 230872 h 461744"/>
                  <a:gd name="connsiteX4" fmla="*/ 230872 w 461744"/>
                  <a:gd name="connsiteY4" fmla="*/ 30738 h 461744"/>
                  <a:gd name="connsiteX5" fmla="*/ 230872 w 461744"/>
                  <a:gd name="connsiteY5" fmla="*/ 0 h 461744"/>
                  <a:gd name="connsiteX6" fmla="*/ 461744 w 461744"/>
                  <a:gd name="connsiteY6" fmla="*/ 230872 h 461744"/>
                  <a:gd name="connsiteX7" fmla="*/ 230872 w 461744"/>
                  <a:gd name="connsiteY7" fmla="*/ 461744 h 461744"/>
                  <a:gd name="connsiteX8" fmla="*/ 0 w 461744"/>
                  <a:gd name="connsiteY8" fmla="*/ 230872 h 461744"/>
                  <a:gd name="connsiteX9" fmla="*/ 230872 w 461744"/>
                  <a:gd name="connsiteY9" fmla="*/ 0 h 4617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61744" h="461744">
                    <a:moveTo>
                      <a:pt x="230872" y="30738"/>
                    </a:moveTo>
                    <a:cubicBezTo>
                      <a:pt x="120341" y="30738"/>
                      <a:pt x="30738" y="120341"/>
                      <a:pt x="30738" y="230872"/>
                    </a:cubicBezTo>
                    <a:cubicBezTo>
                      <a:pt x="30738" y="341403"/>
                      <a:pt x="120341" y="431006"/>
                      <a:pt x="230872" y="431006"/>
                    </a:cubicBezTo>
                    <a:cubicBezTo>
                      <a:pt x="341403" y="431006"/>
                      <a:pt x="431006" y="341403"/>
                      <a:pt x="431006" y="230872"/>
                    </a:cubicBezTo>
                    <a:cubicBezTo>
                      <a:pt x="431006" y="120341"/>
                      <a:pt x="341403" y="30738"/>
                      <a:pt x="230872" y="30738"/>
                    </a:cubicBezTo>
                    <a:close/>
                    <a:moveTo>
                      <a:pt x="230872" y="0"/>
                    </a:moveTo>
                    <a:cubicBezTo>
                      <a:pt x="358379" y="0"/>
                      <a:pt x="461744" y="103365"/>
                      <a:pt x="461744" y="230872"/>
                    </a:cubicBezTo>
                    <a:cubicBezTo>
                      <a:pt x="461744" y="358379"/>
                      <a:pt x="358379" y="461744"/>
                      <a:pt x="230872" y="461744"/>
                    </a:cubicBezTo>
                    <a:cubicBezTo>
                      <a:pt x="103365" y="461744"/>
                      <a:pt x="0" y="358379"/>
                      <a:pt x="0" y="230872"/>
                    </a:cubicBezTo>
                    <a:cubicBezTo>
                      <a:pt x="0" y="103365"/>
                      <a:pt x="103365" y="0"/>
                      <a:pt x="230872" y="0"/>
                    </a:cubicBezTo>
                    <a:close/>
                  </a:path>
                </a:pathLst>
              </a:custGeom>
              <a:grpFill/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240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118" name="Graphic 77">
                <a:extLst>
                  <a:ext uri="{FF2B5EF4-FFF2-40B4-BE49-F238E27FC236}">
                    <a16:creationId xmlns:a16="http://schemas.microsoft.com/office/drawing/2014/main" id="{1C452355-97E6-46AF-AAFF-546347365A22}"/>
                  </a:ext>
                </a:extLst>
              </p:cNvPr>
              <p:cNvSpPr/>
              <p:nvPr/>
            </p:nvSpPr>
            <p:spPr>
              <a:xfrm>
                <a:off x="230796" y="2004258"/>
                <a:ext cx="243074" cy="175239"/>
              </a:xfrm>
              <a:custGeom>
                <a:avLst/>
                <a:gdLst>
                  <a:gd name="connsiteX0" fmla="*/ 349767 w 409575"/>
                  <a:gd name="connsiteY0" fmla="*/ 0 h 295275"/>
                  <a:gd name="connsiteX1" fmla="*/ 155475 w 409575"/>
                  <a:gd name="connsiteY1" fmla="*/ 182790 h 295275"/>
                  <a:gd name="connsiteX2" fmla="*/ 55043 w 409575"/>
                  <a:gd name="connsiteY2" fmla="*/ 107415 h 295275"/>
                  <a:gd name="connsiteX3" fmla="*/ 0 w 409575"/>
                  <a:gd name="connsiteY3" fmla="*/ 181147 h 295275"/>
                  <a:gd name="connsiteX4" fmla="*/ 131445 w 409575"/>
                  <a:gd name="connsiteY4" fmla="*/ 279731 h 295275"/>
                  <a:gd name="connsiteX5" fmla="*/ 163279 w 409575"/>
                  <a:gd name="connsiteY5" fmla="*/ 303556 h 295275"/>
                  <a:gd name="connsiteX6" fmla="*/ 191623 w 409575"/>
                  <a:gd name="connsiteY6" fmla="*/ 275418 h 295275"/>
                  <a:gd name="connsiteX7" fmla="*/ 415079 w 409575"/>
                  <a:gd name="connsiteY7" fmla="*/ 65106 h 295275"/>
                  <a:gd name="connsiteX8" fmla="*/ 349767 w 409575"/>
                  <a:gd name="connsiteY8" fmla="*/ 0 h 2952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09575" h="295275">
                    <a:moveTo>
                      <a:pt x="349767" y="0"/>
                    </a:moveTo>
                    <a:cubicBezTo>
                      <a:pt x="290526" y="59369"/>
                      <a:pt x="220475" y="120315"/>
                      <a:pt x="155475" y="182790"/>
                    </a:cubicBezTo>
                    <a:lnTo>
                      <a:pt x="55043" y="107415"/>
                    </a:lnTo>
                    <a:lnTo>
                      <a:pt x="0" y="181147"/>
                    </a:lnTo>
                    <a:lnTo>
                      <a:pt x="131445" y="279731"/>
                    </a:lnTo>
                    <a:lnTo>
                      <a:pt x="163279" y="303556"/>
                    </a:lnTo>
                    <a:lnTo>
                      <a:pt x="191623" y="275418"/>
                    </a:lnTo>
                    <a:cubicBezTo>
                      <a:pt x="259626" y="207269"/>
                      <a:pt x="342874" y="137467"/>
                      <a:pt x="415079" y="65106"/>
                    </a:cubicBezTo>
                    <a:lnTo>
                      <a:pt x="349767" y="0"/>
                    </a:lnTo>
                    <a:close/>
                  </a:path>
                </a:pathLst>
              </a:custGeom>
              <a:grpFill/>
              <a:ln w="657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0948709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C40D7E0-D5FA-4A86-93CD-A73C19FDE6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Instructions for customer and partner</a:t>
            </a: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539AA6D0-2D2F-465A-8422-94D5CAB8CD8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269238" y="3106499"/>
            <a:ext cx="8947503" cy="522386"/>
            <a:chOff x="506805" y="1895263"/>
            <a:chExt cx="8947503" cy="522386"/>
          </a:xfrm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CBDE199F-738C-48F9-B2A1-07D56F822D7E}"/>
                </a:ext>
              </a:extLst>
            </p:cNvPr>
            <p:cNvSpPr/>
            <p:nvPr/>
          </p:nvSpPr>
          <p:spPr>
            <a:xfrm>
              <a:off x="506805" y="1895263"/>
              <a:ext cx="8947503" cy="522386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05936" rtlCol="0" anchor="ctr"/>
            <a:lstStyle/>
            <a:p>
              <a:r>
                <a:rPr lang="en-GB" sz="1600">
                  <a:solidFill>
                    <a:schemeClr val="tx1"/>
                  </a:solidFill>
                </a:rPr>
                <a:t>Extend topic area slides to capture the required information if needed. </a:t>
              </a:r>
              <a:br>
                <a:rPr lang="en-GB" sz="1600">
                  <a:solidFill>
                    <a:schemeClr val="tx1"/>
                  </a:solidFill>
                </a:rPr>
              </a:br>
              <a:r>
                <a:rPr lang="en-GB" sz="1600">
                  <a:solidFill>
                    <a:schemeClr val="tx1"/>
                  </a:solidFill>
                </a:rPr>
                <a:t>Do not hesitate to paste your own slides.</a:t>
              </a:r>
            </a:p>
          </p:txBody>
        </p:sp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DB765834-44B4-4D59-B96A-4D07BD372023}"/>
                </a:ext>
              </a:extLst>
            </p:cNvPr>
            <p:cNvGrpSpPr/>
            <p:nvPr/>
          </p:nvGrpSpPr>
          <p:grpSpPr>
            <a:xfrm>
              <a:off x="730757" y="1993400"/>
              <a:ext cx="326112" cy="326112"/>
              <a:chOff x="115497" y="1864737"/>
              <a:chExt cx="461744" cy="461744"/>
            </a:xfrm>
            <a:solidFill>
              <a:schemeClr val="tx2"/>
            </a:solidFill>
          </p:grpSpPr>
          <p:sp>
            <p:nvSpPr>
              <p:cNvPr id="17" name="Freeform: Shape 16">
                <a:extLst>
                  <a:ext uri="{FF2B5EF4-FFF2-40B4-BE49-F238E27FC236}">
                    <a16:creationId xmlns:a16="http://schemas.microsoft.com/office/drawing/2014/main" id="{E2F1FDBB-D7C2-4066-81A0-81490BE00D94}"/>
                  </a:ext>
                </a:extLst>
              </p:cNvPr>
              <p:cNvSpPr/>
              <p:nvPr/>
            </p:nvSpPr>
            <p:spPr bwMode="auto">
              <a:xfrm>
                <a:off x="115497" y="1864737"/>
                <a:ext cx="461744" cy="461744"/>
              </a:xfrm>
              <a:custGeom>
                <a:avLst/>
                <a:gdLst>
                  <a:gd name="connsiteX0" fmla="*/ 230872 w 461744"/>
                  <a:gd name="connsiteY0" fmla="*/ 30738 h 461744"/>
                  <a:gd name="connsiteX1" fmla="*/ 30738 w 461744"/>
                  <a:gd name="connsiteY1" fmla="*/ 230872 h 461744"/>
                  <a:gd name="connsiteX2" fmla="*/ 230872 w 461744"/>
                  <a:gd name="connsiteY2" fmla="*/ 431006 h 461744"/>
                  <a:gd name="connsiteX3" fmla="*/ 431006 w 461744"/>
                  <a:gd name="connsiteY3" fmla="*/ 230872 h 461744"/>
                  <a:gd name="connsiteX4" fmla="*/ 230872 w 461744"/>
                  <a:gd name="connsiteY4" fmla="*/ 30738 h 461744"/>
                  <a:gd name="connsiteX5" fmla="*/ 230872 w 461744"/>
                  <a:gd name="connsiteY5" fmla="*/ 0 h 461744"/>
                  <a:gd name="connsiteX6" fmla="*/ 461744 w 461744"/>
                  <a:gd name="connsiteY6" fmla="*/ 230872 h 461744"/>
                  <a:gd name="connsiteX7" fmla="*/ 230872 w 461744"/>
                  <a:gd name="connsiteY7" fmla="*/ 461744 h 461744"/>
                  <a:gd name="connsiteX8" fmla="*/ 0 w 461744"/>
                  <a:gd name="connsiteY8" fmla="*/ 230872 h 461744"/>
                  <a:gd name="connsiteX9" fmla="*/ 230872 w 461744"/>
                  <a:gd name="connsiteY9" fmla="*/ 0 h 4617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61744" h="461744">
                    <a:moveTo>
                      <a:pt x="230872" y="30738"/>
                    </a:moveTo>
                    <a:cubicBezTo>
                      <a:pt x="120341" y="30738"/>
                      <a:pt x="30738" y="120341"/>
                      <a:pt x="30738" y="230872"/>
                    </a:cubicBezTo>
                    <a:cubicBezTo>
                      <a:pt x="30738" y="341403"/>
                      <a:pt x="120341" y="431006"/>
                      <a:pt x="230872" y="431006"/>
                    </a:cubicBezTo>
                    <a:cubicBezTo>
                      <a:pt x="341403" y="431006"/>
                      <a:pt x="431006" y="341403"/>
                      <a:pt x="431006" y="230872"/>
                    </a:cubicBezTo>
                    <a:cubicBezTo>
                      <a:pt x="431006" y="120341"/>
                      <a:pt x="341403" y="30738"/>
                      <a:pt x="230872" y="30738"/>
                    </a:cubicBezTo>
                    <a:close/>
                    <a:moveTo>
                      <a:pt x="230872" y="0"/>
                    </a:moveTo>
                    <a:cubicBezTo>
                      <a:pt x="358379" y="0"/>
                      <a:pt x="461744" y="103365"/>
                      <a:pt x="461744" y="230872"/>
                    </a:cubicBezTo>
                    <a:cubicBezTo>
                      <a:pt x="461744" y="358379"/>
                      <a:pt x="358379" y="461744"/>
                      <a:pt x="230872" y="461744"/>
                    </a:cubicBezTo>
                    <a:cubicBezTo>
                      <a:pt x="103365" y="461744"/>
                      <a:pt x="0" y="358379"/>
                      <a:pt x="0" y="230872"/>
                    </a:cubicBezTo>
                    <a:cubicBezTo>
                      <a:pt x="0" y="103365"/>
                      <a:pt x="103365" y="0"/>
                      <a:pt x="230872" y="0"/>
                    </a:cubicBezTo>
                    <a:close/>
                  </a:path>
                </a:pathLst>
              </a:custGeom>
              <a:grpFill/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240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18" name="Graphic 77">
                <a:extLst>
                  <a:ext uri="{FF2B5EF4-FFF2-40B4-BE49-F238E27FC236}">
                    <a16:creationId xmlns:a16="http://schemas.microsoft.com/office/drawing/2014/main" id="{A01E7263-0BFC-4A6C-B35E-F66DA3B777A1}"/>
                  </a:ext>
                </a:extLst>
              </p:cNvPr>
              <p:cNvSpPr/>
              <p:nvPr/>
            </p:nvSpPr>
            <p:spPr>
              <a:xfrm>
                <a:off x="230796" y="2004258"/>
                <a:ext cx="243074" cy="175239"/>
              </a:xfrm>
              <a:custGeom>
                <a:avLst/>
                <a:gdLst>
                  <a:gd name="connsiteX0" fmla="*/ 349767 w 409575"/>
                  <a:gd name="connsiteY0" fmla="*/ 0 h 295275"/>
                  <a:gd name="connsiteX1" fmla="*/ 155475 w 409575"/>
                  <a:gd name="connsiteY1" fmla="*/ 182790 h 295275"/>
                  <a:gd name="connsiteX2" fmla="*/ 55043 w 409575"/>
                  <a:gd name="connsiteY2" fmla="*/ 107415 h 295275"/>
                  <a:gd name="connsiteX3" fmla="*/ 0 w 409575"/>
                  <a:gd name="connsiteY3" fmla="*/ 181147 h 295275"/>
                  <a:gd name="connsiteX4" fmla="*/ 131445 w 409575"/>
                  <a:gd name="connsiteY4" fmla="*/ 279731 h 295275"/>
                  <a:gd name="connsiteX5" fmla="*/ 163279 w 409575"/>
                  <a:gd name="connsiteY5" fmla="*/ 303556 h 295275"/>
                  <a:gd name="connsiteX6" fmla="*/ 191623 w 409575"/>
                  <a:gd name="connsiteY6" fmla="*/ 275418 h 295275"/>
                  <a:gd name="connsiteX7" fmla="*/ 415079 w 409575"/>
                  <a:gd name="connsiteY7" fmla="*/ 65106 h 295275"/>
                  <a:gd name="connsiteX8" fmla="*/ 349767 w 409575"/>
                  <a:gd name="connsiteY8" fmla="*/ 0 h 2952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09575" h="295275">
                    <a:moveTo>
                      <a:pt x="349767" y="0"/>
                    </a:moveTo>
                    <a:cubicBezTo>
                      <a:pt x="290526" y="59369"/>
                      <a:pt x="220475" y="120315"/>
                      <a:pt x="155475" y="182790"/>
                    </a:cubicBezTo>
                    <a:lnTo>
                      <a:pt x="55043" y="107415"/>
                    </a:lnTo>
                    <a:lnTo>
                      <a:pt x="0" y="181147"/>
                    </a:lnTo>
                    <a:lnTo>
                      <a:pt x="131445" y="279731"/>
                    </a:lnTo>
                    <a:lnTo>
                      <a:pt x="163279" y="303556"/>
                    </a:lnTo>
                    <a:lnTo>
                      <a:pt x="191623" y="275418"/>
                    </a:lnTo>
                    <a:cubicBezTo>
                      <a:pt x="259626" y="207269"/>
                      <a:pt x="342874" y="137467"/>
                      <a:pt x="415079" y="65106"/>
                    </a:cubicBezTo>
                    <a:lnTo>
                      <a:pt x="349767" y="0"/>
                    </a:lnTo>
                    <a:close/>
                  </a:path>
                </a:pathLst>
              </a:custGeom>
              <a:grpFill/>
              <a:ln w="657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grpSp>
        <p:nvGrpSpPr>
          <p:cNvPr id="19" name="Group 18">
            <a:extLst>
              <a:ext uri="{FF2B5EF4-FFF2-40B4-BE49-F238E27FC236}">
                <a16:creationId xmlns:a16="http://schemas.microsoft.com/office/drawing/2014/main" id="{72EB8C5C-B697-4A72-B004-8BB13B09543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262069" y="3951355"/>
            <a:ext cx="8947503" cy="522386"/>
            <a:chOff x="506805" y="1895263"/>
            <a:chExt cx="8947503" cy="522386"/>
          </a:xfrm>
        </p:grpSpPr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A76BCD27-A91E-41A2-9AE0-9E606EDC08EC}"/>
                </a:ext>
              </a:extLst>
            </p:cNvPr>
            <p:cNvSpPr/>
            <p:nvPr/>
          </p:nvSpPr>
          <p:spPr>
            <a:xfrm>
              <a:off x="506805" y="1895263"/>
              <a:ext cx="8947503" cy="522386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05936" rtlCol="0" anchor="ctr"/>
            <a:lstStyle/>
            <a:p>
              <a:r>
                <a:rPr lang="en-GB" sz="1600">
                  <a:solidFill>
                    <a:schemeClr val="tx1"/>
                  </a:solidFill>
                </a:rPr>
                <a:t>Reach out to your FastTrack SA if you have questions on the format or content.</a:t>
              </a:r>
            </a:p>
          </p:txBody>
        </p:sp>
        <p:grpSp>
          <p:nvGrpSpPr>
            <p:cNvPr id="21" name="Group 20">
              <a:extLst>
                <a:ext uri="{FF2B5EF4-FFF2-40B4-BE49-F238E27FC236}">
                  <a16:creationId xmlns:a16="http://schemas.microsoft.com/office/drawing/2014/main" id="{5DC9501F-FA35-4CBA-820A-25888A78563D}"/>
                </a:ext>
              </a:extLst>
            </p:cNvPr>
            <p:cNvGrpSpPr/>
            <p:nvPr/>
          </p:nvGrpSpPr>
          <p:grpSpPr>
            <a:xfrm>
              <a:off x="730757" y="1993400"/>
              <a:ext cx="326112" cy="326112"/>
              <a:chOff x="115497" y="1864737"/>
              <a:chExt cx="461744" cy="461744"/>
            </a:xfrm>
            <a:solidFill>
              <a:schemeClr val="tx2"/>
            </a:solidFill>
          </p:grpSpPr>
          <p:sp>
            <p:nvSpPr>
              <p:cNvPr id="22" name="Freeform: Shape 21">
                <a:extLst>
                  <a:ext uri="{FF2B5EF4-FFF2-40B4-BE49-F238E27FC236}">
                    <a16:creationId xmlns:a16="http://schemas.microsoft.com/office/drawing/2014/main" id="{9E0600C6-02CC-44C6-993F-A119D0FFBD98}"/>
                  </a:ext>
                </a:extLst>
              </p:cNvPr>
              <p:cNvSpPr/>
              <p:nvPr/>
            </p:nvSpPr>
            <p:spPr bwMode="auto">
              <a:xfrm>
                <a:off x="115497" y="1864737"/>
                <a:ext cx="461744" cy="461744"/>
              </a:xfrm>
              <a:custGeom>
                <a:avLst/>
                <a:gdLst>
                  <a:gd name="connsiteX0" fmla="*/ 230872 w 461744"/>
                  <a:gd name="connsiteY0" fmla="*/ 30738 h 461744"/>
                  <a:gd name="connsiteX1" fmla="*/ 30738 w 461744"/>
                  <a:gd name="connsiteY1" fmla="*/ 230872 h 461744"/>
                  <a:gd name="connsiteX2" fmla="*/ 230872 w 461744"/>
                  <a:gd name="connsiteY2" fmla="*/ 431006 h 461744"/>
                  <a:gd name="connsiteX3" fmla="*/ 431006 w 461744"/>
                  <a:gd name="connsiteY3" fmla="*/ 230872 h 461744"/>
                  <a:gd name="connsiteX4" fmla="*/ 230872 w 461744"/>
                  <a:gd name="connsiteY4" fmla="*/ 30738 h 461744"/>
                  <a:gd name="connsiteX5" fmla="*/ 230872 w 461744"/>
                  <a:gd name="connsiteY5" fmla="*/ 0 h 461744"/>
                  <a:gd name="connsiteX6" fmla="*/ 461744 w 461744"/>
                  <a:gd name="connsiteY6" fmla="*/ 230872 h 461744"/>
                  <a:gd name="connsiteX7" fmla="*/ 230872 w 461744"/>
                  <a:gd name="connsiteY7" fmla="*/ 461744 h 461744"/>
                  <a:gd name="connsiteX8" fmla="*/ 0 w 461744"/>
                  <a:gd name="connsiteY8" fmla="*/ 230872 h 461744"/>
                  <a:gd name="connsiteX9" fmla="*/ 230872 w 461744"/>
                  <a:gd name="connsiteY9" fmla="*/ 0 h 4617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61744" h="461744">
                    <a:moveTo>
                      <a:pt x="230872" y="30738"/>
                    </a:moveTo>
                    <a:cubicBezTo>
                      <a:pt x="120341" y="30738"/>
                      <a:pt x="30738" y="120341"/>
                      <a:pt x="30738" y="230872"/>
                    </a:cubicBezTo>
                    <a:cubicBezTo>
                      <a:pt x="30738" y="341403"/>
                      <a:pt x="120341" y="431006"/>
                      <a:pt x="230872" y="431006"/>
                    </a:cubicBezTo>
                    <a:cubicBezTo>
                      <a:pt x="341403" y="431006"/>
                      <a:pt x="431006" y="341403"/>
                      <a:pt x="431006" y="230872"/>
                    </a:cubicBezTo>
                    <a:cubicBezTo>
                      <a:pt x="431006" y="120341"/>
                      <a:pt x="341403" y="30738"/>
                      <a:pt x="230872" y="30738"/>
                    </a:cubicBezTo>
                    <a:close/>
                    <a:moveTo>
                      <a:pt x="230872" y="0"/>
                    </a:moveTo>
                    <a:cubicBezTo>
                      <a:pt x="358379" y="0"/>
                      <a:pt x="461744" y="103365"/>
                      <a:pt x="461744" y="230872"/>
                    </a:cubicBezTo>
                    <a:cubicBezTo>
                      <a:pt x="461744" y="358379"/>
                      <a:pt x="358379" y="461744"/>
                      <a:pt x="230872" y="461744"/>
                    </a:cubicBezTo>
                    <a:cubicBezTo>
                      <a:pt x="103365" y="461744"/>
                      <a:pt x="0" y="358379"/>
                      <a:pt x="0" y="230872"/>
                    </a:cubicBezTo>
                    <a:cubicBezTo>
                      <a:pt x="0" y="103365"/>
                      <a:pt x="103365" y="0"/>
                      <a:pt x="230872" y="0"/>
                    </a:cubicBezTo>
                    <a:close/>
                  </a:path>
                </a:pathLst>
              </a:custGeom>
              <a:grpFill/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240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23" name="Graphic 77">
                <a:extLst>
                  <a:ext uri="{FF2B5EF4-FFF2-40B4-BE49-F238E27FC236}">
                    <a16:creationId xmlns:a16="http://schemas.microsoft.com/office/drawing/2014/main" id="{25D287C0-19E5-462B-89A8-CC5EE45568D5}"/>
                  </a:ext>
                </a:extLst>
              </p:cNvPr>
              <p:cNvSpPr/>
              <p:nvPr/>
            </p:nvSpPr>
            <p:spPr>
              <a:xfrm>
                <a:off x="230796" y="2004258"/>
                <a:ext cx="243074" cy="175239"/>
              </a:xfrm>
              <a:custGeom>
                <a:avLst/>
                <a:gdLst>
                  <a:gd name="connsiteX0" fmla="*/ 349767 w 409575"/>
                  <a:gd name="connsiteY0" fmla="*/ 0 h 295275"/>
                  <a:gd name="connsiteX1" fmla="*/ 155475 w 409575"/>
                  <a:gd name="connsiteY1" fmla="*/ 182790 h 295275"/>
                  <a:gd name="connsiteX2" fmla="*/ 55043 w 409575"/>
                  <a:gd name="connsiteY2" fmla="*/ 107415 h 295275"/>
                  <a:gd name="connsiteX3" fmla="*/ 0 w 409575"/>
                  <a:gd name="connsiteY3" fmla="*/ 181147 h 295275"/>
                  <a:gd name="connsiteX4" fmla="*/ 131445 w 409575"/>
                  <a:gd name="connsiteY4" fmla="*/ 279731 h 295275"/>
                  <a:gd name="connsiteX5" fmla="*/ 163279 w 409575"/>
                  <a:gd name="connsiteY5" fmla="*/ 303556 h 295275"/>
                  <a:gd name="connsiteX6" fmla="*/ 191623 w 409575"/>
                  <a:gd name="connsiteY6" fmla="*/ 275418 h 295275"/>
                  <a:gd name="connsiteX7" fmla="*/ 415079 w 409575"/>
                  <a:gd name="connsiteY7" fmla="*/ 65106 h 295275"/>
                  <a:gd name="connsiteX8" fmla="*/ 349767 w 409575"/>
                  <a:gd name="connsiteY8" fmla="*/ 0 h 2952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09575" h="295275">
                    <a:moveTo>
                      <a:pt x="349767" y="0"/>
                    </a:moveTo>
                    <a:cubicBezTo>
                      <a:pt x="290526" y="59369"/>
                      <a:pt x="220475" y="120315"/>
                      <a:pt x="155475" y="182790"/>
                    </a:cubicBezTo>
                    <a:lnTo>
                      <a:pt x="55043" y="107415"/>
                    </a:lnTo>
                    <a:lnTo>
                      <a:pt x="0" y="181147"/>
                    </a:lnTo>
                    <a:lnTo>
                      <a:pt x="131445" y="279731"/>
                    </a:lnTo>
                    <a:lnTo>
                      <a:pt x="163279" y="303556"/>
                    </a:lnTo>
                    <a:lnTo>
                      <a:pt x="191623" y="275418"/>
                    </a:lnTo>
                    <a:cubicBezTo>
                      <a:pt x="259626" y="207269"/>
                      <a:pt x="342874" y="137467"/>
                      <a:pt x="415079" y="65106"/>
                    </a:cubicBezTo>
                    <a:lnTo>
                      <a:pt x="349767" y="0"/>
                    </a:lnTo>
                    <a:close/>
                  </a:path>
                </a:pathLst>
              </a:custGeom>
              <a:grpFill/>
              <a:ln w="657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6" name="Rectangle 25">
            <a:extLst>
              <a:ext uri="{FF2B5EF4-FFF2-40B4-BE49-F238E27FC236}">
                <a16:creationId xmlns:a16="http://schemas.microsoft.com/office/drawing/2014/main" id="{663C5757-1699-4EEC-B106-3EDCEBC77B60}"/>
              </a:ext>
            </a:extLst>
          </p:cNvPr>
          <p:cNvSpPr/>
          <p:nvPr/>
        </p:nvSpPr>
        <p:spPr>
          <a:xfrm>
            <a:off x="1500052" y="1374543"/>
            <a:ext cx="10425027" cy="47502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2880" tIns="91427" rIns="182880" rtlCol="0" anchor="t" anchorCtr="0"/>
          <a:lstStyle/>
          <a:p>
            <a:pPr lvl="0" defTabSz="914225"/>
            <a:r>
              <a:rPr lang="en-GB" sz="2000">
                <a:ln w="3175">
                  <a:noFill/>
                </a:ln>
                <a:solidFill>
                  <a:srgbClr val="008272"/>
                </a:solidFill>
                <a:latin typeface="Segoe UI Semibold"/>
                <a:cs typeface="Segoe UI" pitchFamily="34" charset="0"/>
              </a:rPr>
              <a:t>How to fill out this PowerPoint</a:t>
            </a:r>
          </a:p>
        </p:txBody>
      </p:sp>
      <p:sp>
        <p:nvSpPr>
          <p:cNvPr id="27" name="Rectangle: Rounded Corners 14">
            <a:extLst>
              <a:ext uri="{FF2B5EF4-FFF2-40B4-BE49-F238E27FC236}">
                <a16:creationId xmlns:a16="http://schemas.microsoft.com/office/drawing/2014/main" id="{DCE5A92F-C92B-4F66-874C-5662BB0FE97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405657" y="1762061"/>
            <a:ext cx="976312" cy="87504"/>
          </a:xfrm>
          <a:custGeom>
            <a:avLst/>
            <a:gdLst>
              <a:gd name="connsiteX0" fmla="*/ 0 w 1168400"/>
              <a:gd name="connsiteY0" fmla="*/ 104721 h 209442"/>
              <a:gd name="connsiteX1" fmla="*/ 104721 w 1168400"/>
              <a:gd name="connsiteY1" fmla="*/ 0 h 209442"/>
              <a:gd name="connsiteX2" fmla="*/ 1063679 w 1168400"/>
              <a:gd name="connsiteY2" fmla="*/ 0 h 209442"/>
              <a:gd name="connsiteX3" fmla="*/ 1168400 w 1168400"/>
              <a:gd name="connsiteY3" fmla="*/ 104721 h 209442"/>
              <a:gd name="connsiteX4" fmla="*/ 1168400 w 1168400"/>
              <a:gd name="connsiteY4" fmla="*/ 104721 h 209442"/>
              <a:gd name="connsiteX5" fmla="*/ 1063679 w 1168400"/>
              <a:gd name="connsiteY5" fmla="*/ 209442 h 209442"/>
              <a:gd name="connsiteX6" fmla="*/ 104721 w 1168400"/>
              <a:gd name="connsiteY6" fmla="*/ 209442 h 209442"/>
              <a:gd name="connsiteX7" fmla="*/ 0 w 1168400"/>
              <a:gd name="connsiteY7" fmla="*/ 104721 h 209442"/>
              <a:gd name="connsiteX0" fmla="*/ 0 w 1168400"/>
              <a:gd name="connsiteY0" fmla="*/ 104721 h 209442"/>
              <a:gd name="connsiteX1" fmla="*/ 104721 w 1168400"/>
              <a:gd name="connsiteY1" fmla="*/ 0 h 209442"/>
              <a:gd name="connsiteX2" fmla="*/ 1063679 w 1168400"/>
              <a:gd name="connsiteY2" fmla="*/ 0 h 209442"/>
              <a:gd name="connsiteX3" fmla="*/ 1168400 w 1168400"/>
              <a:gd name="connsiteY3" fmla="*/ 104721 h 209442"/>
              <a:gd name="connsiteX4" fmla="*/ 1168400 w 1168400"/>
              <a:gd name="connsiteY4" fmla="*/ 104721 h 209442"/>
              <a:gd name="connsiteX5" fmla="*/ 1063679 w 1168400"/>
              <a:gd name="connsiteY5" fmla="*/ 209442 h 209442"/>
              <a:gd name="connsiteX6" fmla="*/ 104721 w 1168400"/>
              <a:gd name="connsiteY6" fmla="*/ 209442 h 209442"/>
              <a:gd name="connsiteX7" fmla="*/ 91440 w 1168400"/>
              <a:gd name="connsiteY7" fmla="*/ 196161 h 209442"/>
              <a:gd name="connsiteX0" fmla="*/ 0 w 1168400"/>
              <a:gd name="connsiteY0" fmla="*/ 104721 h 209442"/>
              <a:gd name="connsiteX1" fmla="*/ 104721 w 1168400"/>
              <a:gd name="connsiteY1" fmla="*/ 0 h 209442"/>
              <a:gd name="connsiteX2" fmla="*/ 1063679 w 1168400"/>
              <a:gd name="connsiteY2" fmla="*/ 0 h 209442"/>
              <a:gd name="connsiteX3" fmla="*/ 1168400 w 1168400"/>
              <a:gd name="connsiteY3" fmla="*/ 104721 h 209442"/>
              <a:gd name="connsiteX4" fmla="*/ 1168400 w 1168400"/>
              <a:gd name="connsiteY4" fmla="*/ 104721 h 209442"/>
              <a:gd name="connsiteX5" fmla="*/ 1063679 w 1168400"/>
              <a:gd name="connsiteY5" fmla="*/ 209442 h 209442"/>
              <a:gd name="connsiteX6" fmla="*/ 104721 w 1168400"/>
              <a:gd name="connsiteY6" fmla="*/ 209442 h 209442"/>
              <a:gd name="connsiteX0" fmla="*/ 0 w 1168400"/>
              <a:gd name="connsiteY0" fmla="*/ 104721 h 209442"/>
              <a:gd name="connsiteX1" fmla="*/ 104721 w 1168400"/>
              <a:gd name="connsiteY1" fmla="*/ 0 h 209442"/>
              <a:gd name="connsiteX2" fmla="*/ 1063679 w 1168400"/>
              <a:gd name="connsiteY2" fmla="*/ 0 h 209442"/>
              <a:gd name="connsiteX3" fmla="*/ 1168400 w 1168400"/>
              <a:gd name="connsiteY3" fmla="*/ 104721 h 209442"/>
              <a:gd name="connsiteX4" fmla="*/ 1168400 w 1168400"/>
              <a:gd name="connsiteY4" fmla="*/ 104721 h 209442"/>
              <a:gd name="connsiteX5" fmla="*/ 1063679 w 1168400"/>
              <a:gd name="connsiteY5" fmla="*/ 209442 h 209442"/>
              <a:gd name="connsiteX0" fmla="*/ 0 w 1168400"/>
              <a:gd name="connsiteY0" fmla="*/ 104721 h 104721"/>
              <a:gd name="connsiteX1" fmla="*/ 104721 w 1168400"/>
              <a:gd name="connsiteY1" fmla="*/ 0 h 104721"/>
              <a:gd name="connsiteX2" fmla="*/ 1063679 w 1168400"/>
              <a:gd name="connsiteY2" fmla="*/ 0 h 104721"/>
              <a:gd name="connsiteX3" fmla="*/ 1168400 w 1168400"/>
              <a:gd name="connsiteY3" fmla="*/ 104721 h 104721"/>
              <a:gd name="connsiteX4" fmla="*/ 1168400 w 1168400"/>
              <a:gd name="connsiteY4" fmla="*/ 104721 h 1047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68400" h="104721">
                <a:moveTo>
                  <a:pt x="0" y="104721"/>
                </a:moveTo>
                <a:cubicBezTo>
                  <a:pt x="0" y="46885"/>
                  <a:pt x="46885" y="0"/>
                  <a:pt x="104721" y="0"/>
                </a:cubicBezTo>
                <a:lnTo>
                  <a:pt x="1063679" y="0"/>
                </a:lnTo>
                <a:cubicBezTo>
                  <a:pt x="1121515" y="0"/>
                  <a:pt x="1168400" y="46885"/>
                  <a:pt x="1168400" y="104721"/>
                </a:cubicBezTo>
                <a:lnTo>
                  <a:pt x="1168400" y="104721"/>
                </a:lnTo>
              </a:path>
            </a:pathLst>
          </a:custGeom>
          <a:solidFill>
            <a:schemeClr val="tx1">
              <a:lumMod val="60000"/>
              <a:lumOff val="4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29C32889-46E6-46E1-BDDB-F4E1B89101C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1" y="1858175"/>
            <a:ext cx="11925078" cy="0"/>
          </a:xfrm>
          <a:prstGeom prst="line">
            <a:avLst/>
          </a:prstGeom>
          <a:ln w="2857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9" name="Group 28">
            <a:extLst>
              <a:ext uri="{FF2B5EF4-FFF2-40B4-BE49-F238E27FC236}">
                <a16:creationId xmlns:a16="http://schemas.microsoft.com/office/drawing/2014/main" id="{8D250A39-0E81-43A6-AC4D-FC3740A5595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650725" y="1143371"/>
            <a:ext cx="497037" cy="499600"/>
            <a:chOff x="8121833" y="4193647"/>
            <a:chExt cx="847727" cy="852101"/>
          </a:xfrm>
        </p:grpSpPr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F6A2ECE2-C1EF-4E34-8665-A7902605E514}"/>
                </a:ext>
              </a:extLst>
            </p:cNvPr>
            <p:cNvSpPr/>
            <p:nvPr/>
          </p:nvSpPr>
          <p:spPr>
            <a:xfrm>
              <a:off x="8121835" y="4242767"/>
              <a:ext cx="847725" cy="152400"/>
            </a:xfrm>
            <a:custGeom>
              <a:avLst/>
              <a:gdLst>
                <a:gd name="connsiteX0" fmla="*/ 826296 w 847725"/>
                <a:gd name="connsiteY0" fmla="*/ 0 h 152400"/>
                <a:gd name="connsiteX1" fmla="*/ 738024 w 847725"/>
                <a:gd name="connsiteY1" fmla="*/ 0 h 152400"/>
                <a:gd name="connsiteX2" fmla="*/ 738024 w 847725"/>
                <a:gd name="connsiteY2" fmla="*/ 58298 h 152400"/>
                <a:gd name="connsiteX3" fmla="*/ 710224 w 847725"/>
                <a:gd name="connsiteY3" fmla="*/ 86096 h 152400"/>
                <a:gd name="connsiteX4" fmla="*/ 682423 w 847725"/>
                <a:gd name="connsiteY4" fmla="*/ 58298 h 152400"/>
                <a:gd name="connsiteX5" fmla="*/ 682423 w 847725"/>
                <a:gd name="connsiteY5" fmla="*/ 0 h 152400"/>
                <a:gd name="connsiteX6" fmla="*/ 549318 w 847725"/>
                <a:gd name="connsiteY6" fmla="*/ 0 h 152400"/>
                <a:gd name="connsiteX7" fmla="*/ 549318 w 847725"/>
                <a:gd name="connsiteY7" fmla="*/ 58298 h 152400"/>
                <a:gd name="connsiteX8" fmla="*/ 521516 w 847725"/>
                <a:gd name="connsiteY8" fmla="*/ 86096 h 152400"/>
                <a:gd name="connsiteX9" fmla="*/ 493718 w 847725"/>
                <a:gd name="connsiteY9" fmla="*/ 58298 h 152400"/>
                <a:gd name="connsiteX10" fmla="*/ 493718 w 847725"/>
                <a:gd name="connsiteY10" fmla="*/ 0 h 152400"/>
                <a:gd name="connsiteX11" fmla="*/ 360611 w 847725"/>
                <a:gd name="connsiteY11" fmla="*/ 0 h 152400"/>
                <a:gd name="connsiteX12" fmla="*/ 360611 w 847725"/>
                <a:gd name="connsiteY12" fmla="*/ 58298 h 152400"/>
                <a:gd name="connsiteX13" fmla="*/ 332809 w 847725"/>
                <a:gd name="connsiteY13" fmla="*/ 86096 h 152400"/>
                <a:gd name="connsiteX14" fmla="*/ 305011 w 847725"/>
                <a:gd name="connsiteY14" fmla="*/ 58298 h 152400"/>
                <a:gd name="connsiteX15" fmla="*/ 305011 w 847725"/>
                <a:gd name="connsiteY15" fmla="*/ 0 h 152400"/>
                <a:gd name="connsiteX16" fmla="*/ 171904 w 847725"/>
                <a:gd name="connsiteY16" fmla="*/ 0 h 152400"/>
                <a:gd name="connsiteX17" fmla="*/ 171904 w 847725"/>
                <a:gd name="connsiteY17" fmla="*/ 58298 h 152400"/>
                <a:gd name="connsiteX18" fmla="*/ 144106 w 847725"/>
                <a:gd name="connsiteY18" fmla="*/ 86096 h 152400"/>
                <a:gd name="connsiteX19" fmla="*/ 116304 w 847725"/>
                <a:gd name="connsiteY19" fmla="*/ 58298 h 152400"/>
                <a:gd name="connsiteX20" fmla="*/ 116304 w 847725"/>
                <a:gd name="connsiteY20" fmla="*/ 0 h 152400"/>
                <a:gd name="connsiteX21" fmla="*/ 28073 w 847725"/>
                <a:gd name="connsiteY21" fmla="*/ 0 h 152400"/>
                <a:gd name="connsiteX22" fmla="*/ 0 w 847725"/>
                <a:gd name="connsiteY22" fmla="*/ 28069 h 152400"/>
                <a:gd name="connsiteX23" fmla="*/ 0 w 847725"/>
                <a:gd name="connsiteY23" fmla="*/ 160770 h 152400"/>
                <a:gd name="connsiteX24" fmla="*/ 854366 w 847725"/>
                <a:gd name="connsiteY24" fmla="*/ 160770 h 152400"/>
                <a:gd name="connsiteX25" fmla="*/ 854366 w 847725"/>
                <a:gd name="connsiteY25" fmla="*/ 28069 h 152400"/>
                <a:gd name="connsiteX26" fmla="*/ 826296 w 847725"/>
                <a:gd name="connsiteY26" fmla="*/ 0 h 152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847725" h="152400">
                  <a:moveTo>
                    <a:pt x="826296" y="0"/>
                  </a:moveTo>
                  <a:lnTo>
                    <a:pt x="738024" y="0"/>
                  </a:lnTo>
                  <a:lnTo>
                    <a:pt x="738024" y="58298"/>
                  </a:lnTo>
                  <a:cubicBezTo>
                    <a:pt x="738024" y="73627"/>
                    <a:pt x="725550" y="86096"/>
                    <a:pt x="710224" y="86096"/>
                  </a:cubicBezTo>
                  <a:cubicBezTo>
                    <a:pt x="694897" y="86096"/>
                    <a:pt x="682423" y="73627"/>
                    <a:pt x="682423" y="58298"/>
                  </a:cubicBezTo>
                  <a:lnTo>
                    <a:pt x="682423" y="0"/>
                  </a:lnTo>
                  <a:lnTo>
                    <a:pt x="549318" y="0"/>
                  </a:lnTo>
                  <a:lnTo>
                    <a:pt x="549318" y="58298"/>
                  </a:lnTo>
                  <a:cubicBezTo>
                    <a:pt x="549318" y="73627"/>
                    <a:pt x="536846" y="86096"/>
                    <a:pt x="521516" y="86096"/>
                  </a:cubicBezTo>
                  <a:cubicBezTo>
                    <a:pt x="506187" y="86096"/>
                    <a:pt x="493718" y="73627"/>
                    <a:pt x="493718" y="58298"/>
                  </a:cubicBezTo>
                  <a:lnTo>
                    <a:pt x="493718" y="0"/>
                  </a:lnTo>
                  <a:lnTo>
                    <a:pt x="360611" y="0"/>
                  </a:lnTo>
                  <a:lnTo>
                    <a:pt x="360611" y="58298"/>
                  </a:lnTo>
                  <a:cubicBezTo>
                    <a:pt x="360611" y="73627"/>
                    <a:pt x="348139" y="86096"/>
                    <a:pt x="332809" y="86096"/>
                  </a:cubicBezTo>
                  <a:cubicBezTo>
                    <a:pt x="317480" y="86096"/>
                    <a:pt x="305011" y="73627"/>
                    <a:pt x="305011" y="58298"/>
                  </a:cubicBezTo>
                  <a:lnTo>
                    <a:pt x="305011" y="0"/>
                  </a:lnTo>
                  <a:lnTo>
                    <a:pt x="171904" y="0"/>
                  </a:lnTo>
                  <a:lnTo>
                    <a:pt x="171904" y="58298"/>
                  </a:lnTo>
                  <a:cubicBezTo>
                    <a:pt x="171904" y="73627"/>
                    <a:pt x="159435" y="86096"/>
                    <a:pt x="144106" y="86096"/>
                  </a:cubicBezTo>
                  <a:cubicBezTo>
                    <a:pt x="128777" y="86096"/>
                    <a:pt x="116304" y="73627"/>
                    <a:pt x="116304" y="58298"/>
                  </a:cubicBezTo>
                  <a:lnTo>
                    <a:pt x="116304" y="0"/>
                  </a:lnTo>
                  <a:lnTo>
                    <a:pt x="28073" y="0"/>
                  </a:lnTo>
                  <a:cubicBezTo>
                    <a:pt x="12595" y="0"/>
                    <a:pt x="0" y="12594"/>
                    <a:pt x="0" y="28069"/>
                  </a:cubicBezTo>
                  <a:lnTo>
                    <a:pt x="0" y="160770"/>
                  </a:lnTo>
                  <a:lnTo>
                    <a:pt x="854366" y="160770"/>
                  </a:lnTo>
                  <a:lnTo>
                    <a:pt x="854366" y="28069"/>
                  </a:lnTo>
                  <a:cubicBezTo>
                    <a:pt x="854366" y="12594"/>
                    <a:pt x="841774" y="0"/>
                    <a:pt x="826296" y="0"/>
                  </a:cubicBezTo>
                  <a:close/>
                </a:path>
              </a:pathLst>
            </a:custGeom>
            <a:solidFill>
              <a:schemeClr val="accent2"/>
            </a:solidFill>
            <a:ln w="65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75C682D5-CC31-495A-A800-10CFE6264E1B}"/>
                </a:ext>
              </a:extLst>
            </p:cNvPr>
            <p:cNvSpPr/>
            <p:nvPr/>
          </p:nvSpPr>
          <p:spPr>
            <a:xfrm>
              <a:off x="8817823" y="4193647"/>
              <a:ext cx="19050" cy="114300"/>
            </a:xfrm>
            <a:custGeom>
              <a:avLst/>
              <a:gdLst>
                <a:gd name="connsiteX0" fmla="*/ 14235 w 19050"/>
                <a:gd name="connsiteY0" fmla="*/ 121655 h 114300"/>
                <a:gd name="connsiteX1" fmla="*/ 28471 w 19050"/>
                <a:gd name="connsiteY1" fmla="*/ 107418 h 114300"/>
                <a:gd name="connsiteX2" fmla="*/ 28471 w 19050"/>
                <a:gd name="connsiteY2" fmla="*/ 42405 h 114300"/>
                <a:gd name="connsiteX3" fmla="*/ 28458 w 19050"/>
                <a:gd name="connsiteY3" fmla="*/ 42340 h 114300"/>
                <a:gd name="connsiteX4" fmla="*/ 28471 w 19050"/>
                <a:gd name="connsiteY4" fmla="*/ 42274 h 114300"/>
                <a:gd name="connsiteX5" fmla="*/ 28471 w 19050"/>
                <a:gd name="connsiteY5" fmla="*/ 14243 h 114300"/>
                <a:gd name="connsiteX6" fmla="*/ 14235 w 19050"/>
                <a:gd name="connsiteY6" fmla="*/ 0 h 114300"/>
                <a:gd name="connsiteX7" fmla="*/ 0 w 19050"/>
                <a:gd name="connsiteY7" fmla="*/ 14243 h 114300"/>
                <a:gd name="connsiteX8" fmla="*/ 0 w 19050"/>
                <a:gd name="connsiteY8" fmla="*/ 107418 h 114300"/>
                <a:gd name="connsiteX9" fmla="*/ 14235 w 19050"/>
                <a:gd name="connsiteY9" fmla="*/ 121655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9050" h="114300">
                  <a:moveTo>
                    <a:pt x="14235" y="121655"/>
                  </a:moveTo>
                  <a:cubicBezTo>
                    <a:pt x="22083" y="121655"/>
                    <a:pt x="28471" y="115271"/>
                    <a:pt x="28471" y="107418"/>
                  </a:cubicBezTo>
                  <a:lnTo>
                    <a:pt x="28471" y="42405"/>
                  </a:lnTo>
                  <a:cubicBezTo>
                    <a:pt x="28471" y="42382"/>
                    <a:pt x="28458" y="42363"/>
                    <a:pt x="28458" y="42340"/>
                  </a:cubicBezTo>
                  <a:cubicBezTo>
                    <a:pt x="28458" y="42316"/>
                    <a:pt x="28471" y="42297"/>
                    <a:pt x="28471" y="42274"/>
                  </a:cubicBezTo>
                  <a:lnTo>
                    <a:pt x="28471" y="14243"/>
                  </a:lnTo>
                  <a:cubicBezTo>
                    <a:pt x="28471" y="6390"/>
                    <a:pt x="22083" y="0"/>
                    <a:pt x="14235" y="0"/>
                  </a:cubicBezTo>
                  <a:cubicBezTo>
                    <a:pt x="6388" y="0"/>
                    <a:pt x="0" y="6390"/>
                    <a:pt x="0" y="14243"/>
                  </a:cubicBezTo>
                  <a:lnTo>
                    <a:pt x="0" y="107418"/>
                  </a:lnTo>
                  <a:cubicBezTo>
                    <a:pt x="0" y="115271"/>
                    <a:pt x="6388" y="121655"/>
                    <a:pt x="14235" y="121655"/>
                  </a:cubicBezTo>
                  <a:close/>
                </a:path>
              </a:pathLst>
            </a:custGeom>
            <a:solidFill>
              <a:schemeClr val="accent2"/>
            </a:solidFill>
            <a:ln w="65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915036A0-D284-47F3-9C31-C1DF2429B9F2}"/>
                </a:ext>
              </a:extLst>
            </p:cNvPr>
            <p:cNvSpPr/>
            <p:nvPr/>
          </p:nvSpPr>
          <p:spPr>
            <a:xfrm>
              <a:off x="8440408" y="4193647"/>
              <a:ext cx="19050" cy="114300"/>
            </a:xfrm>
            <a:custGeom>
              <a:avLst/>
              <a:gdLst>
                <a:gd name="connsiteX0" fmla="*/ 14237 w 19050"/>
                <a:gd name="connsiteY0" fmla="*/ 121655 h 114300"/>
                <a:gd name="connsiteX1" fmla="*/ 28477 w 19050"/>
                <a:gd name="connsiteY1" fmla="*/ 107418 h 114300"/>
                <a:gd name="connsiteX2" fmla="*/ 28477 w 19050"/>
                <a:gd name="connsiteY2" fmla="*/ 42421 h 114300"/>
                <a:gd name="connsiteX3" fmla="*/ 28460 w 19050"/>
                <a:gd name="connsiteY3" fmla="*/ 42340 h 114300"/>
                <a:gd name="connsiteX4" fmla="*/ 28477 w 19050"/>
                <a:gd name="connsiteY4" fmla="*/ 42258 h 114300"/>
                <a:gd name="connsiteX5" fmla="*/ 28477 w 19050"/>
                <a:gd name="connsiteY5" fmla="*/ 14243 h 114300"/>
                <a:gd name="connsiteX6" fmla="*/ 14237 w 19050"/>
                <a:gd name="connsiteY6" fmla="*/ 0 h 114300"/>
                <a:gd name="connsiteX7" fmla="*/ 0 w 19050"/>
                <a:gd name="connsiteY7" fmla="*/ 14243 h 114300"/>
                <a:gd name="connsiteX8" fmla="*/ 0 w 19050"/>
                <a:gd name="connsiteY8" fmla="*/ 107418 h 114300"/>
                <a:gd name="connsiteX9" fmla="*/ 14237 w 19050"/>
                <a:gd name="connsiteY9" fmla="*/ 121655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9050" h="114300">
                  <a:moveTo>
                    <a:pt x="14237" y="121655"/>
                  </a:moveTo>
                  <a:cubicBezTo>
                    <a:pt x="22091" y="121655"/>
                    <a:pt x="28477" y="115271"/>
                    <a:pt x="28477" y="107418"/>
                  </a:cubicBezTo>
                  <a:lnTo>
                    <a:pt x="28477" y="42421"/>
                  </a:lnTo>
                  <a:cubicBezTo>
                    <a:pt x="28477" y="42392"/>
                    <a:pt x="28460" y="42369"/>
                    <a:pt x="28460" y="42340"/>
                  </a:cubicBezTo>
                  <a:cubicBezTo>
                    <a:pt x="28460" y="42311"/>
                    <a:pt x="28477" y="42287"/>
                    <a:pt x="28477" y="42258"/>
                  </a:cubicBezTo>
                  <a:lnTo>
                    <a:pt x="28477" y="14243"/>
                  </a:lnTo>
                  <a:cubicBezTo>
                    <a:pt x="28477" y="6390"/>
                    <a:pt x="22091" y="0"/>
                    <a:pt x="14237" y="0"/>
                  </a:cubicBezTo>
                  <a:cubicBezTo>
                    <a:pt x="6387" y="0"/>
                    <a:pt x="0" y="6390"/>
                    <a:pt x="0" y="14243"/>
                  </a:cubicBezTo>
                  <a:lnTo>
                    <a:pt x="0" y="107418"/>
                  </a:lnTo>
                  <a:cubicBezTo>
                    <a:pt x="0" y="115271"/>
                    <a:pt x="6387" y="121655"/>
                    <a:pt x="14237" y="121655"/>
                  </a:cubicBezTo>
                  <a:close/>
                </a:path>
              </a:pathLst>
            </a:custGeom>
            <a:solidFill>
              <a:schemeClr val="accent2"/>
            </a:solidFill>
            <a:ln w="65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570D7C7B-ECF0-4110-92CD-7480EA4A01C4}"/>
                </a:ext>
              </a:extLst>
            </p:cNvPr>
            <p:cNvSpPr/>
            <p:nvPr/>
          </p:nvSpPr>
          <p:spPr>
            <a:xfrm>
              <a:off x="8251701" y="4193647"/>
              <a:ext cx="19050" cy="114300"/>
            </a:xfrm>
            <a:custGeom>
              <a:avLst/>
              <a:gdLst>
                <a:gd name="connsiteX0" fmla="*/ 14240 w 19050"/>
                <a:gd name="connsiteY0" fmla="*/ 121655 h 114300"/>
                <a:gd name="connsiteX1" fmla="*/ 28477 w 19050"/>
                <a:gd name="connsiteY1" fmla="*/ 107418 h 114300"/>
                <a:gd name="connsiteX2" fmla="*/ 28477 w 19050"/>
                <a:gd name="connsiteY2" fmla="*/ 42405 h 114300"/>
                <a:gd name="connsiteX3" fmla="*/ 28463 w 19050"/>
                <a:gd name="connsiteY3" fmla="*/ 42340 h 114300"/>
                <a:gd name="connsiteX4" fmla="*/ 28477 w 19050"/>
                <a:gd name="connsiteY4" fmla="*/ 42274 h 114300"/>
                <a:gd name="connsiteX5" fmla="*/ 28477 w 19050"/>
                <a:gd name="connsiteY5" fmla="*/ 14243 h 114300"/>
                <a:gd name="connsiteX6" fmla="*/ 14240 w 19050"/>
                <a:gd name="connsiteY6" fmla="*/ 0 h 114300"/>
                <a:gd name="connsiteX7" fmla="*/ 0 w 19050"/>
                <a:gd name="connsiteY7" fmla="*/ 14243 h 114300"/>
                <a:gd name="connsiteX8" fmla="*/ 0 w 19050"/>
                <a:gd name="connsiteY8" fmla="*/ 107418 h 114300"/>
                <a:gd name="connsiteX9" fmla="*/ 14240 w 19050"/>
                <a:gd name="connsiteY9" fmla="*/ 121655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9050" h="114300">
                  <a:moveTo>
                    <a:pt x="14240" y="121655"/>
                  </a:moveTo>
                  <a:cubicBezTo>
                    <a:pt x="22090" y="121655"/>
                    <a:pt x="28477" y="115271"/>
                    <a:pt x="28477" y="107418"/>
                  </a:cubicBezTo>
                  <a:lnTo>
                    <a:pt x="28477" y="42405"/>
                  </a:lnTo>
                  <a:cubicBezTo>
                    <a:pt x="28476" y="42382"/>
                    <a:pt x="28463" y="42363"/>
                    <a:pt x="28463" y="42340"/>
                  </a:cubicBezTo>
                  <a:cubicBezTo>
                    <a:pt x="28463" y="42316"/>
                    <a:pt x="28476" y="42297"/>
                    <a:pt x="28477" y="42274"/>
                  </a:cubicBezTo>
                  <a:lnTo>
                    <a:pt x="28477" y="14243"/>
                  </a:lnTo>
                  <a:cubicBezTo>
                    <a:pt x="28477" y="6390"/>
                    <a:pt x="22090" y="0"/>
                    <a:pt x="14240" y="0"/>
                  </a:cubicBezTo>
                  <a:cubicBezTo>
                    <a:pt x="6386" y="0"/>
                    <a:pt x="0" y="6390"/>
                    <a:pt x="0" y="14243"/>
                  </a:cubicBezTo>
                  <a:lnTo>
                    <a:pt x="0" y="107418"/>
                  </a:lnTo>
                  <a:cubicBezTo>
                    <a:pt x="0" y="115271"/>
                    <a:pt x="6386" y="121655"/>
                    <a:pt x="14240" y="121655"/>
                  </a:cubicBezTo>
                  <a:close/>
                </a:path>
              </a:pathLst>
            </a:custGeom>
            <a:solidFill>
              <a:schemeClr val="accent2"/>
            </a:solidFill>
            <a:ln w="65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id="{03F098B4-19BD-40AD-B27E-59F38CB2EA3F}"/>
                </a:ext>
              </a:extLst>
            </p:cNvPr>
            <p:cNvSpPr/>
            <p:nvPr/>
          </p:nvSpPr>
          <p:spPr>
            <a:xfrm>
              <a:off x="8629115" y="4193647"/>
              <a:ext cx="19050" cy="114300"/>
            </a:xfrm>
            <a:custGeom>
              <a:avLst/>
              <a:gdLst>
                <a:gd name="connsiteX0" fmla="*/ 14237 w 19050"/>
                <a:gd name="connsiteY0" fmla="*/ 121655 h 114300"/>
                <a:gd name="connsiteX1" fmla="*/ 28477 w 19050"/>
                <a:gd name="connsiteY1" fmla="*/ 107418 h 114300"/>
                <a:gd name="connsiteX2" fmla="*/ 28477 w 19050"/>
                <a:gd name="connsiteY2" fmla="*/ 42421 h 114300"/>
                <a:gd name="connsiteX3" fmla="*/ 28460 w 19050"/>
                <a:gd name="connsiteY3" fmla="*/ 42340 h 114300"/>
                <a:gd name="connsiteX4" fmla="*/ 28477 w 19050"/>
                <a:gd name="connsiteY4" fmla="*/ 42258 h 114300"/>
                <a:gd name="connsiteX5" fmla="*/ 28477 w 19050"/>
                <a:gd name="connsiteY5" fmla="*/ 14243 h 114300"/>
                <a:gd name="connsiteX6" fmla="*/ 14237 w 19050"/>
                <a:gd name="connsiteY6" fmla="*/ 0 h 114300"/>
                <a:gd name="connsiteX7" fmla="*/ 0 w 19050"/>
                <a:gd name="connsiteY7" fmla="*/ 14243 h 114300"/>
                <a:gd name="connsiteX8" fmla="*/ 0 w 19050"/>
                <a:gd name="connsiteY8" fmla="*/ 107418 h 114300"/>
                <a:gd name="connsiteX9" fmla="*/ 14237 w 19050"/>
                <a:gd name="connsiteY9" fmla="*/ 121655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9050" h="114300">
                  <a:moveTo>
                    <a:pt x="14237" y="121655"/>
                  </a:moveTo>
                  <a:cubicBezTo>
                    <a:pt x="22091" y="121655"/>
                    <a:pt x="28477" y="115271"/>
                    <a:pt x="28477" y="107418"/>
                  </a:cubicBezTo>
                  <a:lnTo>
                    <a:pt x="28477" y="42421"/>
                  </a:lnTo>
                  <a:cubicBezTo>
                    <a:pt x="28477" y="42392"/>
                    <a:pt x="28460" y="42369"/>
                    <a:pt x="28460" y="42340"/>
                  </a:cubicBezTo>
                  <a:cubicBezTo>
                    <a:pt x="28460" y="42311"/>
                    <a:pt x="28477" y="42287"/>
                    <a:pt x="28477" y="42258"/>
                  </a:cubicBezTo>
                  <a:lnTo>
                    <a:pt x="28477" y="14243"/>
                  </a:lnTo>
                  <a:cubicBezTo>
                    <a:pt x="28477" y="6390"/>
                    <a:pt x="22091" y="0"/>
                    <a:pt x="14237" y="0"/>
                  </a:cubicBezTo>
                  <a:cubicBezTo>
                    <a:pt x="6387" y="0"/>
                    <a:pt x="0" y="6390"/>
                    <a:pt x="0" y="14243"/>
                  </a:cubicBezTo>
                  <a:lnTo>
                    <a:pt x="0" y="107418"/>
                  </a:lnTo>
                  <a:cubicBezTo>
                    <a:pt x="0" y="115271"/>
                    <a:pt x="6387" y="121655"/>
                    <a:pt x="14237" y="121655"/>
                  </a:cubicBezTo>
                  <a:close/>
                </a:path>
              </a:pathLst>
            </a:custGeom>
            <a:solidFill>
              <a:schemeClr val="accent2"/>
            </a:solidFill>
            <a:ln w="65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5" name="Freeform: Shape 34">
              <a:extLst>
                <a:ext uri="{FF2B5EF4-FFF2-40B4-BE49-F238E27FC236}">
                  <a16:creationId xmlns:a16="http://schemas.microsoft.com/office/drawing/2014/main" id="{7BB15BB9-4E62-4708-A508-3757EEEFF5D2}"/>
                </a:ext>
              </a:extLst>
            </p:cNvPr>
            <p:cNvSpPr/>
            <p:nvPr/>
          </p:nvSpPr>
          <p:spPr>
            <a:xfrm>
              <a:off x="8121833" y="4417098"/>
              <a:ext cx="847725" cy="628650"/>
            </a:xfrm>
            <a:custGeom>
              <a:avLst/>
              <a:gdLst>
                <a:gd name="connsiteX0" fmla="*/ 0 w 847725"/>
                <a:gd name="connsiteY0" fmla="*/ 602871 h 628650"/>
                <a:gd name="connsiteX1" fmla="*/ 28073 w 847725"/>
                <a:gd name="connsiteY1" fmla="*/ 630941 h 628650"/>
                <a:gd name="connsiteX2" fmla="*/ 826296 w 847725"/>
                <a:gd name="connsiteY2" fmla="*/ 630941 h 628650"/>
                <a:gd name="connsiteX3" fmla="*/ 854366 w 847725"/>
                <a:gd name="connsiteY3" fmla="*/ 602871 h 628650"/>
                <a:gd name="connsiteX4" fmla="*/ 854366 w 847725"/>
                <a:gd name="connsiteY4" fmla="*/ 0 h 628650"/>
                <a:gd name="connsiteX5" fmla="*/ 0 w 847725"/>
                <a:gd name="connsiteY5" fmla="*/ 0 h 628650"/>
                <a:gd name="connsiteX6" fmla="*/ 0 w 847725"/>
                <a:gd name="connsiteY6" fmla="*/ 602871 h 628650"/>
                <a:gd name="connsiteX7" fmla="*/ 569167 w 847725"/>
                <a:gd name="connsiteY7" fmla="*/ 191812 h 628650"/>
                <a:gd name="connsiteX8" fmla="*/ 574643 w 847725"/>
                <a:gd name="connsiteY8" fmla="*/ 187197 h 628650"/>
                <a:gd name="connsiteX9" fmla="*/ 612688 w 847725"/>
                <a:gd name="connsiteY9" fmla="*/ 181668 h 628650"/>
                <a:gd name="connsiteX10" fmla="*/ 629700 w 847725"/>
                <a:gd name="connsiteY10" fmla="*/ 147189 h 628650"/>
                <a:gd name="connsiteX11" fmla="*/ 641866 w 847725"/>
                <a:gd name="connsiteY11" fmla="*/ 147189 h 628650"/>
                <a:gd name="connsiteX12" fmla="*/ 658881 w 847725"/>
                <a:gd name="connsiteY12" fmla="*/ 181668 h 628650"/>
                <a:gd name="connsiteX13" fmla="*/ 696921 w 847725"/>
                <a:gd name="connsiteY13" fmla="*/ 187197 h 628650"/>
                <a:gd name="connsiteX14" fmla="*/ 702403 w 847725"/>
                <a:gd name="connsiteY14" fmla="*/ 191812 h 628650"/>
                <a:gd name="connsiteX15" fmla="*/ 700681 w 847725"/>
                <a:gd name="connsiteY15" fmla="*/ 198759 h 628650"/>
                <a:gd name="connsiteX16" fmla="*/ 673149 w 847725"/>
                <a:gd name="connsiteY16" fmla="*/ 225597 h 628650"/>
                <a:gd name="connsiteX17" fmla="*/ 679649 w 847725"/>
                <a:gd name="connsiteY17" fmla="*/ 263493 h 628650"/>
                <a:gd name="connsiteX18" fmla="*/ 676955 w 847725"/>
                <a:gd name="connsiteY18" fmla="*/ 270121 h 628650"/>
                <a:gd name="connsiteX19" fmla="*/ 672965 w 847725"/>
                <a:gd name="connsiteY19" fmla="*/ 271419 h 628650"/>
                <a:gd name="connsiteX20" fmla="*/ 669811 w 847725"/>
                <a:gd name="connsiteY20" fmla="*/ 270638 h 628650"/>
                <a:gd name="connsiteX21" fmla="*/ 635780 w 847725"/>
                <a:gd name="connsiteY21" fmla="*/ 252746 h 628650"/>
                <a:gd name="connsiteX22" fmla="*/ 601752 w 847725"/>
                <a:gd name="connsiteY22" fmla="*/ 270638 h 628650"/>
                <a:gd name="connsiteX23" fmla="*/ 594611 w 847725"/>
                <a:gd name="connsiteY23" fmla="*/ 270121 h 628650"/>
                <a:gd name="connsiteX24" fmla="*/ 591913 w 847725"/>
                <a:gd name="connsiteY24" fmla="*/ 263493 h 628650"/>
                <a:gd name="connsiteX25" fmla="*/ 598412 w 847725"/>
                <a:gd name="connsiteY25" fmla="*/ 225597 h 628650"/>
                <a:gd name="connsiteX26" fmla="*/ 570885 w 847725"/>
                <a:gd name="connsiteY26" fmla="*/ 198759 h 628650"/>
                <a:gd name="connsiteX27" fmla="*/ 569167 w 847725"/>
                <a:gd name="connsiteY27" fmla="*/ 191812 h 628650"/>
                <a:gd name="connsiteX28" fmla="*/ 324463 w 847725"/>
                <a:gd name="connsiteY28" fmla="*/ 108696 h 628650"/>
                <a:gd name="connsiteX29" fmla="*/ 329939 w 847725"/>
                <a:gd name="connsiteY29" fmla="*/ 104081 h 628650"/>
                <a:gd name="connsiteX30" fmla="*/ 392932 w 847725"/>
                <a:gd name="connsiteY30" fmla="*/ 94930 h 628650"/>
                <a:gd name="connsiteX31" fmla="*/ 421101 w 847725"/>
                <a:gd name="connsiteY31" fmla="*/ 37850 h 628650"/>
                <a:gd name="connsiteX32" fmla="*/ 433265 w 847725"/>
                <a:gd name="connsiteY32" fmla="*/ 37850 h 628650"/>
                <a:gd name="connsiteX33" fmla="*/ 461434 w 847725"/>
                <a:gd name="connsiteY33" fmla="*/ 94930 h 628650"/>
                <a:gd name="connsiteX34" fmla="*/ 524423 w 847725"/>
                <a:gd name="connsiteY34" fmla="*/ 104081 h 628650"/>
                <a:gd name="connsiteX35" fmla="*/ 529900 w 847725"/>
                <a:gd name="connsiteY35" fmla="*/ 108696 h 628650"/>
                <a:gd name="connsiteX36" fmla="*/ 528185 w 847725"/>
                <a:gd name="connsiteY36" fmla="*/ 115643 h 628650"/>
                <a:gd name="connsiteX37" fmla="*/ 482604 w 847725"/>
                <a:gd name="connsiteY37" fmla="*/ 160074 h 628650"/>
                <a:gd name="connsiteX38" fmla="*/ 493364 w 847725"/>
                <a:gd name="connsiteY38" fmla="*/ 222816 h 628650"/>
                <a:gd name="connsiteX39" fmla="*/ 490666 w 847725"/>
                <a:gd name="connsiteY39" fmla="*/ 229444 h 628650"/>
                <a:gd name="connsiteX40" fmla="*/ 486680 w 847725"/>
                <a:gd name="connsiteY40" fmla="*/ 230742 h 628650"/>
                <a:gd name="connsiteX41" fmla="*/ 483524 w 847725"/>
                <a:gd name="connsiteY41" fmla="*/ 229960 h 628650"/>
                <a:gd name="connsiteX42" fmla="*/ 427183 w 847725"/>
                <a:gd name="connsiteY42" fmla="*/ 200341 h 628650"/>
                <a:gd name="connsiteX43" fmla="*/ 370842 w 847725"/>
                <a:gd name="connsiteY43" fmla="*/ 229960 h 628650"/>
                <a:gd name="connsiteX44" fmla="*/ 363700 w 847725"/>
                <a:gd name="connsiteY44" fmla="*/ 229444 h 628650"/>
                <a:gd name="connsiteX45" fmla="*/ 361002 w 847725"/>
                <a:gd name="connsiteY45" fmla="*/ 222816 h 628650"/>
                <a:gd name="connsiteX46" fmla="*/ 371762 w 847725"/>
                <a:gd name="connsiteY46" fmla="*/ 160081 h 628650"/>
                <a:gd name="connsiteX47" fmla="*/ 326178 w 847725"/>
                <a:gd name="connsiteY47" fmla="*/ 115643 h 628650"/>
                <a:gd name="connsiteX48" fmla="*/ 324463 w 847725"/>
                <a:gd name="connsiteY48" fmla="*/ 108696 h 628650"/>
                <a:gd name="connsiteX49" fmla="*/ 151966 w 847725"/>
                <a:gd name="connsiteY49" fmla="*/ 191812 h 628650"/>
                <a:gd name="connsiteX50" fmla="*/ 157442 w 847725"/>
                <a:gd name="connsiteY50" fmla="*/ 187197 h 628650"/>
                <a:gd name="connsiteX51" fmla="*/ 195488 w 847725"/>
                <a:gd name="connsiteY51" fmla="*/ 181668 h 628650"/>
                <a:gd name="connsiteX52" fmla="*/ 212499 w 847725"/>
                <a:gd name="connsiteY52" fmla="*/ 147189 h 628650"/>
                <a:gd name="connsiteX53" fmla="*/ 224663 w 847725"/>
                <a:gd name="connsiteY53" fmla="*/ 147189 h 628650"/>
                <a:gd name="connsiteX54" fmla="*/ 241678 w 847725"/>
                <a:gd name="connsiteY54" fmla="*/ 181668 h 628650"/>
                <a:gd name="connsiteX55" fmla="*/ 279723 w 847725"/>
                <a:gd name="connsiteY55" fmla="*/ 187197 h 628650"/>
                <a:gd name="connsiteX56" fmla="*/ 285199 w 847725"/>
                <a:gd name="connsiteY56" fmla="*/ 191812 h 628650"/>
                <a:gd name="connsiteX57" fmla="*/ 283481 w 847725"/>
                <a:gd name="connsiteY57" fmla="*/ 198759 h 628650"/>
                <a:gd name="connsiteX58" fmla="*/ 255951 w 847725"/>
                <a:gd name="connsiteY58" fmla="*/ 225597 h 628650"/>
                <a:gd name="connsiteX59" fmla="*/ 262450 w 847725"/>
                <a:gd name="connsiteY59" fmla="*/ 263493 h 628650"/>
                <a:gd name="connsiteX60" fmla="*/ 259752 w 847725"/>
                <a:gd name="connsiteY60" fmla="*/ 270121 h 628650"/>
                <a:gd name="connsiteX61" fmla="*/ 255766 w 847725"/>
                <a:gd name="connsiteY61" fmla="*/ 271419 h 628650"/>
                <a:gd name="connsiteX62" fmla="*/ 252610 w 847725"/>
                <a:gd name="connsiteY62" fmla="*/ 270638 h 628650"/>
                <a:gd name="connsiteX63" fmla="*/ 218581 w 847725"/>
                <a:gd name="connsiteY63" fmla="*/ 252746 h 628650"/>
                <a:gd name="connsiteX64" fmla="*/ 184552 w 847725"/>
                <a:gd name="connsiteY64" fmla="*/ 270638 h 628650"/>
                <a:gd name="connsiteX65" fmla="*/ 177410 w 847725"/>
                <a:gd name="connsiteY65" fmla="*/ 270121 h 628650"/>
                <a:gd name="connsiteX66" fmla="*/ 174712 w 847725"/>
                <a:gd name="connsiteY66" fmla="*/ 263493 h 628650"/>
                <a:gd name="connsiteX67" fmla="*/ 181211 w 847725"/>
                <a:gd name="connsiteY67" fmla="*/ 225597 h 628650"/>
                <a:gd name="connsiteX68" fmla="*/ 153685 w 847725"/>
                <a:gd name="connsiteY68" fmla="*/ 198759 h 628650"/>
                <a:gd name="connsiteX69" fmla="*/ 151966 w 847725"/>
                <a:gd name="connsiteY69" fmla="*/ 191812 h 628650"/>
                <a:gd name="connsiteX70" fmla="*/ 58175 w 847725"/>
                <a:gd name="connsiteY70" fmla="*/ 315772 h 628650"/>
                <a:gd name="connsiteX71" fmla="*/ 796189 w 847725"/>
                <a:gd name="connsiteY71" fmla="*/ 315772 h 628650"/>
                <a:gd name="connsiteX72" fmla="*/ 802971 w 847725"/>
                <a:gd name="connsiteY72" fmla="*/ 322553 h 628650"/>
                <a:gd name="connsiteX73" fmla="*/ 796189 w 847725"/>
                <a:gd name="connsiteY73" fmla="*/ 329334 h 628650"/>
                <a:gd name="connsiteX74" fmla="*/ 58175 w 847725"/>
                <a:gd name="connsiteY74" fmla="*/ 329334 h 628650"/>
                <a:gd name="connsiteX75" fmla="*/ 51395 w 847725"/>
                <a:gd name="connsiteY75" fmla="*/ 322553 h 628650"/>
                <a:gd name="connsiteX76" fmla="*/ 58175 w 847725"/>
                <a:gd name="connsiteY76" fmla="*/ 315772 h 628650"/>
                <a:gd name="connsiteX77" fmla="*/ 58175 w 847725"/>
                <a:gd name="connsiteY77" fmla="*/ 395445 h 628650"/>
                <a:gd name="connsiteX78" fmla="*/ 796189 w 847725"/>
                <a:gd name="connsiteY78" fmla="*/ 395445 h 628650"/>
                <a:gd name="connsiteX79" fmla="*/ 802971 w 847725"/>
                <a:gd name="connsiteY79" fmla="*/ 402227 h 628650"/>
                <a:gd name="connsiteX80" fmla="*/ 796189 w 847725"/>
                <a:gd name="connsiteY80" fmla="*/ 409010 h 628650"/>
                <a:gd name="connsiteX81" fmla="*/ 58175 w 847725"/>
                <a:gd name="connsiteY81" fmla="*/ 409010 h 628650"/>
                <a:gd name="connsiteX82" fmla="*/ 51395 w 847725"/>
                <a:gd name="connsiteY82" fmla="*/ 402227 h 628650"/>
                <a:gd name="connsiteX83" fmla="*/ 58175 w 847725"/>
                <a:gd name="connsiteY83" fmla="*/ 395445 h 628650"/>
                <a:gd name="connsiteX84" fmla="*/ 58175 w 847725"/>
                <a:gd name="connsiteY84" fmla="*/ 475120 h 628650"/>
                <a:gd name="connsiteX85" fmla="*/ 796189 w 847725"/>
                <a:gd name="connsiteY85" fmla="*/ 475120 h 628650"/>
                <a:gd name="connsiteX86" fmla="*/ 802971 w 847725"/>
                <a:gd name="connsiteY86" fmla="*/ 481896 h 628650"/>
                <a:gd name="connsiteX87" fmla="*/ 796189 w 847725"/>
                <a:gd name="connsiteY87" fmla="*/ 488678 h 628650"/>
                <a:gd name="connsiteX88" fmla="*/ 58175 w 847725"/>
                <a:gd name="connsiteY88" fmla="*/ 488678 h 628650"/>
                <a:gd name="connsiteX89" fmla="*/ 51395 w 847725"/>
                <a:gd name="connsiteY89" fmla="*/ 481896 h 628650"/>
                <a:gd name="connsiteX90" fmla="*/ 58175 w 847725"/>
                <a:gd name="connsiteY90" fmla="*/ 475120 h 628650"/>
                <a:gd name="connsiteX91" fmla="*/ 58175 w 847725"/>
                <a:gd name="connsiteY91" fmla="*/ 554789 h 628650"/>
                <a:gd name="connsiteX92" fmla="*/ 796189 w 847725"/>
                <a:gd name="connsiteY92" fmla="*/ 554789 h 628650"/>
                <a:gd name="connsiteX93" fmla="*/ 802971 w 847725"/>
                <a:gd name="connsiteY93" fmla="*/ 561571 h 628650"/>
                <a:gd name="connsiteX94" fmla="*/ 796189 w 847725"/>
                <a:gd name="connsiteY94" fmla="*/ 568354 h 628650"/>
                <a:gd name="connsiteX95" fmla="*/ 58175 w 847725"/>
                <a:gd name="connsiteY95" fmla="*/ 568354 h 628650"/>
                <a:gd name="connsiteX96" fmla="*/ 51395 w 847725"/>
                <a:gd name="connsiteY96" fmla="*/ 561571 h 628650"/>
                <a:gd name="connsiteX97" fmla="*/ 58175 w 847725"/>
                <a:gd name="connsiteY97" fmla="*/ 554789 h 6286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</a:cxnLst>
              <a:rect l="l" t="t" r="r" b="b"/>
              <a:pathLst>
                <a:path w="847725" h="628650">
                  <a:moveTo>
                    <a:pt x="0" y="602871"/>
                  </a:moveTo>
                  <a:cubicBezTo>
                    <a:pt x="0" y="618349"/>
                    <a:pt x="12595" y="630941"/>
                    <a:pt x="28073" y="630941"/>
                  </a:cubicBezTo>
                  <a:lnTo>
                    <a:pt x="826296" y="630941"/>
                  </a:lnTo>
                  <a:cubicBezTo>
                    <a:pt x="841774" y="630941"/>
                    <a:pt x="854366" y="618349"/>
                    <a:pt x="854366" y="602871"/>
                  </a:cubicBezTo>
                  <a:lnTo>
                    <a:pt x="854366" y="0"/>
                  </a:lnTo>
                  <a:lnTo>
                    <a:pt x="0" y="0"/>
                  </a:lnTo>
                  <a:lnTo>
                    <a:pt x="0" y="602871"/>
                  </a:lnTo>
                  <a:close/>
                  <a:moveTo>
                    <a:pt x="569167" y="191812"/>
                  </a:moveTo>
                  <a:cubicBezTo>
                    <a:pt x="569964" y="189356"/>
                    <a:pt x="572087" y="187568"/>
                    <a:pt x="574643" y="187197"/>
                  </a:cubicBezTo>
                  <a:lnTo>
                    <a:pt x="612688" y="181668"/>
                  </a:lnTo>
                  <a:lnTo>
                    <a:pt x="629700" y="147189"/>
                  </a:lnTo>
                  <a:cubicBezTo>
                    <a:pt x="631981" y="142553"/>
                    <a:pt x="639578" y="142553"/>
                    <a:pt x="641866" y="147189"/>
                  </a:cubicBezTo>
                  <a:lnTo>
                    <a:pt x="658881" y="181668"/>
                  </a:lnTo>
                  <a:lnTo>
                    <a:pt x="696921" y="187197"/>
                  </a:lnTo>
                  <a:cubicBezTo>
                    <a:pt x="699478" y="187568"/>
                    <a:pt x="701601" y="189356"/>
                    <a:pt x="702403" y="191812"/>
                  </a:cubicBezTo>
                  <a:cubicBezTo>
                    <a:pt x="703198" y="194263"/>
                    <a:pt x="702534" y="196958"/>
                    <a:pt x="700681" y="198759"/>
                  </a:cubicBezTo>
                  <a:lnTo>
                    <a:pt x="673149" y="225597"/>
                  </a:lnTo>
                  <a:lnTo>
                    <a:pt x="679649" y="263493"/>
                  </a:lnTo>
                  <a:cubicBezTo>
                    <a:pt x="680083" y="266036"/>
                    <a:pt x="679038" y="268605"/>
                    <a:pt x="676955" y="270121"/>
                  </a:cubicBezTo>
                  <a:cubicBezTo>
                    <a:pt x="675772" y="270982"/>
                    <a:pt x="674372" y="271419"/>
                    <a:pt x="672965" y="271419"/>
                  </a:cubicBezTo>
                  <a:cubicBezTo>
                    <a:pt x="671888" y="271419"/>
                    <a:pt x="670803" y="271161"/>
                    <a:pt x="669811" y="270638"/>
                  </a:cubicBezTo>
                  <a:lnTo>
                    <a:pt x="635780" y="252746"/>
                  </a:lnTo>
                  <a:lnTo>
                    <a:pt x="601752" y="270638"/>
                  </a:lnTo>
                  <a:cubicBezTo>
                    <a:pt x="599481" y="271843"/>
                    <a:pt x="596704" y="271644"/>
                    <a:pt x="594611" y="270121"/>
                  </a:cubicBezTo>
                  <a:cubicBezTo>
                    <a:pt x="592525" y="268605"/>
                    <a:pt x="591479" y="266036"/>
                    <a:pt x="591913" y="263493"/>
                  </a:cubicBezTo>
                  <a:lnTo>
                    <a:pt x="598412" y="225597"/>
                  </a:lnTo>
                  <a:lnTo>
                    <a:pt x="570885" y="198759"/>
                  </a:lnTo>
                  <a:cubicBezTo>
                    <a:pt x="569034" y="196958"/>
                    <a:pt x="568369" y="194263"/>
                    <a:pt x="569167" y="191812"/>
                  </a:cubicBezTo>
                  <a:close/>
                  <a:moveTo>
                    <a:pt x="324463" y="108696"/>
                  </a:moveTo>
                  <a:cubicBezTo>
                    <a:pt x="325261" y="106240"/>
                    <a:pt x="327383" y="104451"/>
                    <a:pt x="329939" y="104081"/>
                  </a:cubicBezTo>
                  <a:lnTo>
                    <a:pt x="392932" y="94930"/>
                  </a:lnTo>
                  <a:lnTo>
                    <a:pt x="421101" y="37850"/>
                  </a:lnTo>
                  <a:cubicBezTo>
                    <a:pt x="423386" y="33215"/>
                    <a:pt x="430980" y="33215"/>
                    <a:pt x="433265" y="37850"/>
                  </a:cubicBezTo>
                  <a:lnTo>
                    <a:pt x="461434" y="94930"/>
                  </a:lnTo>
                  <a:lnTo>
                    <a:pt x="524423" y="104081"/>
                  </a:lnTo>
                  <a:cubicBezTo>
                    <a:pt x="526979" y="104451"/>
                    <a:pt x="529102" y="106240"/>
                    <a:pt x="529900" y="108696"/>
                  </a:cubicBezTo>
                  <a:cubicBezTo>
                    <a:pt x="530698" y="111147"/>
                    <a:pt x="530032" y="113841"/>
                    <a:pt x="528185" y="115643"/>
                  </a:cubicBezTo>
                  <a:lnTo>
                    <a:pt x="482604" y="160074"/>
                  </a:lnTo>
                  <a:lnTo>
                    <a:pt x="493364" y="222816"/>
                  </a:lnTo>
                  <a:cubicBezTo>
                    <a:pt x="493798" y="225359"/>
                    <a:pt x="492752" y="227928"/>
                    <a:pt x="490666" y="229444"/>
                  </a:cubicBezTo>
                  <a:cubicBezTo>
                    <a:pt x="489484" y="230305"/>
                    <a:pt x="488083" y="230742"/>
                    <a:pt x="486680" y="230742"/>
                  </a:cubicBezTo>
                  <a:cubicBezTo>
                    <a:pt x="485600" y="230742"/>
                    <a:pt x="484517" y="230484"/>
                    <a:pt x="483524" y="229960"/>
                  </a:cubicBezTo>
                  <a:lnTo>
                    <a:pt x="427183" y="200341"/>
                  </a:lnTo>
                  <a:lnTo>
                    <a:pt x="370842" y="229960"/>
                  </a:lnTo>
                  <a:cubicBezTo>
                    <a:pt x="368564" y="231172"/>
                    <a:pt x="365793" y="230974"/>
                    <a:pt x="363700" y="229444"/>
                  </a:cubicBezTo>
                  <a:cubicBezTo>
                    <a:pt x="361614" y="227928"/>
                    <a:pt x="360568" y="225359"/>
                    <a:pt x="361002" y="222816"/>
                  </a:cubicBezTo>
                  <a:lnTo>
                    <a:pt x="371762" y="160081"/>
                  </a:lnTo>
                  <a:lnTo>
                    <a:pt x="326178" y="115643"/>
                  </a:lnTo>
                  <a:cubicBezTo>
                    <a:pt x="324331" y="113841"/>
                    <a:pt x="323665" y="111147"/>
                    <a:pt x="324463" y="108696"/>
                  </a:cubicBezTo>
                  <a:close/>
                  <a:moveTo>
                    <a:pt x="151966" y="191812"/>
                  </a:moveTo>
                  <a:cubicBezTo>
                    <a:pt x="152764" y="189356"/>
                    <a:pt x="154886" y="187568"/>
                    <a:pt x="157442" y="187197"/>
                  </a:cubicBezTo>
                  <a:lnTo>
                    <a:pt x="195488" y="181668"/>
                  </a:lnTo>
                  <a:lnTo>
                    <a:pt x="212499" y="147189"/>
                  </a:lnTo>
                  <a:cubicBezTo>
                    <a:pt x="214784" y="142553"/>
                    <a:pt x="222379" y="142553"/>
                    <a:pt x="224663" y="147189"/>
                  </a:cubicBezTo>
                  <a:lnTo>
                    <a:pt x="241678" y="181668"/>
                  </a:lnTo>
                  <a:lnTo>
                    <a:pt x="279723" y="187197"/>
                  </a:lnTo>
                  <a:cubicBezTo>
                    <a:pt x="282279" y="187568"/>
                    <a:pt x="284402" y="189356"/>
                    <a:pt x="285199" y="191812"/>
                  </a:cubicBezTo>
                  <a:cubicBezTo>
                    <a:pt x="285997" y="194263"/>
                    <a:pt x="285331" y="196958"/>
                    <a:pt x="283481" y="198759"/>
                  </a:cubicBezTo>
                  <a:lnTo>
                    <a:pt x="255951" y="225597"/>
                  </a:lnTo>
                  <a:lnTo>
                    <a:pt x="262450" y="263493"/>
                  </a:lnTo>
                  <a:cubicBezTo>
                    <a:pt x="262884" y="266036"/>
                    <a:pt x="261838" y="268605"/>
                    <a:pt x="259752" y="270121"/>
                  </a:cubicBezTo>
                  <a:cubicBezTo>
                    <a:pt x="258570" y="270982"/>
                    <a:pt x="257169" y="271419"/>
                    <a:pt x="255766" y="271419"/>
                  </a:cubicBezTo>
                  <a:cubicBezTo>
                    <a:pt x="254686" y="271419"/>
                    <a:pt x="253603" y="271161"/>
                    <a:pt x="252610" y="270638"/>
                  </a:cubicBezTo>
                  <a:lnTo>
                    <a:pt x="218581" y="252746"/>
                  </a:lnTo>
                  <a:lnTo>
                    <a:pt x="184552" y="270638"/>
                  </a:lnTo>
                  <a:cubicBezTo>
                    <a:pt x="182281" y="271843"/>
                    <a:pt x="179509" y="271644"/>
                    <a:pt x="177410" y="270121"/>
                  </a:cubicBezTo>
                  <a:cubicBezTo>
                    <a:pt x="175324" y="268605"/>
                    <a:pt x="174278" y="266036"/>
                    <a:pt x="174712" y="263493"/>
                  </a:cubicBezTo>
                  <a:lnTo>
                    <a:pt x="181211" y="225597"/>
                  </a:lnTo>
                  <a:lnTo>
                    <a:pt x="153685" y="198759"/>
                  </a:lnTo>
                  <a:cubicBezTo>
                    <a:pt x="151833" y="196958"/>
                    <a:pt x="151168" y="194263"/>
                    <a:pt x="151966" y="191812"/>
                  </a:cubicBezTo>
                  <a:close/>
                  <a:moveTo>
                    <a:pt x="58175" y="315772"/>
                  </a:moveTo>
                  <a:lnTo>
                    <a:pt x="796189" y="315772"/>
                  </a:lnTo>
                  <a:cubicBezTo>
                    <a:pt x="799935" y="315772"/>
                    <a:pt x="802971" y="318805"/>
                    <a:pt x="802971" y="322553"/>
                  </a:cubicBezTo>
                  <a:cubicBezTo>
                    <a:pt x="802971" y="326300"/>
                    <a:pt x="799935" y="329334"/>
                    <a:pt x="796189" y="329334"/>
                  </a:cubicBezTo>
                  <a:lnTo>
                    <a:pt x="58175" y="329334"/>
                  </a:lnTo>
                  <a:cubicBezTo>
                    <a:pt x="54431" y="329334"/>
                    <a:pt x="51395" y="326300"/>
                    <a:pt x="51395" y="322553"/>
                  </a:cubicBezTo>
                  <a:cubicBezTo>
                    <a:pt x="51395" y="318805"/>
                    <a:pt x="54431" y="315772"/>
                    <a:pt x="58175" y="315772"/>
                  </a:cubicBezTo>
                  <a:close/>
                  <a:moveTo>
                    <a:pt x="58175" y="395445"/>
                  </a:moveTo>
                  <a:lnTo>
                    <a:pt x="796189" y="395445"/>
                  </a:lnTo>
                  <a:cubicBezTo>
                    <a:pt x="799935" y="395445"/>
                    <a:pt x="802971" y="398478"/>
                    <a:pt x="802971" y="402227"/>
                  </a:cubicBezTo>
                  <a:cubicBezTo>
                    <a:pt x="802971" y="405973"/>
                    <a:pt x="799935" y="409010"/>
                    <a:pt x="796189" y="409010"/>
                  </a:cubicBezTo>
                  <a:lnTo>
                    <a:pt x="58175" y="409010"/>
                  </a:lnTo>
                  <a:cubicBezTo>
                    <a:pt x="54431" y="409010"/>
                    <a:pt x="51395" y="405973"/>
                    <a:pt x="51395" y="402227"/>
                  </a:cubicBezTo>
                  <a:cubicBezTo>
                    <a:pt x="51395" y="398478"/>
                    <a:pt x="54431" y="395445"/>
                    <a:pt x="58175" y="395445"/>
                  </a:cubicBezTo>
                  <a:close/>
                  <a:moveTo>
                    <a:pt x="58175" y="475120"/>
                  </a:moveTo>
                  <a:lnTo>
                    <a:pt x="796189" y="475120"/>
                  </a:lnTo>
                  <a:cubicBezTo>
                    <a:pt x="799935" y="475120"/>
                    <a:pt x="802971" y="478150"/>
                    <a:pt x="802971" y="481896"/>
                  </a:cubicBezTo>
                  <a:cubicBezTo>
                    <a:pt x="802971" y="485649"/>
                    <a:pt x="799935" y="488678"/>
                    <a:pt x="796189" y="488678"/>
                  </a:cubicBezTo>
                  <a:lnTo>
                    <a:pt x="58175" y="488678"/>
                  </a:lnTo>
                  <a:cubicBezTo>
                    <a:pt x="54431" y="488678"/>
                    <a:pt x="51395" y="485649"/>
                    <a:pt x="51395" y="481896"/>
                  </a:cubicBezTo>
                  <a:cubicBezTo>
                    <a:pt x="51395" y="478150"/>
                    <a:pt x="54431" y="475120"/>
                    <a:pt x="58175" y="475120"/>
                  </a:cubicBezTo>
                  <a:close/>
                  <a:moveTo>
                    <a:pt x="58175" y="554789"/>
                  </a:moveTo>
                  <a:lnTo>
                    <a:pt x="796189" y="554789"/>
                  </a:lnTo>
                  <a:cubicBezTo>
                    <a:pt x="799935" y="554789"/>
                    <a:pt x="802971" y="557825"/>
                    <a:pt x="802971" y="561571"/>
                  </a:cubicBezTo>
                  <a:cubicBezTo>
                    <a:pt x="802971" y="565317"/>
                    <a:pt x="799935" y="568354"/>
                    <a:pt x="796189" y="568354"/>
                  </a:cubicBezTo>
                  <a:lnTo>
                    <a:pt x="58175" y="568354"/>
                  </a:lnTo>
                  <a:cubicBezTo>
                    <a:pt x="54431" y="568354"/>
                    <a:pt x="51395" y="565317"/>
                    <a:pt x="51395" y="561571"/>
                  </a:cubicBezTo>
                  <a:cubicBezTo>
                    <a:pt x="51395" y="557825"/>
                    <a:pt x="54431" y="554789"/>
                    <a:pt x="58175" y="554789"/>
                  </a:cubicBezTo>
                  <a:close/>
                </a:path>
              </a:pathLst>
            </a:custGeom>
            <a:solidFill>
              <a:schemeClr val="accent4"/>
            </a:solidFill>
            <a:ln w="65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38" name="Group 37">
            <a:extLst>
              <a:ext uri="{FF2B5EF4-FFF2-40B4-BE49-F238E27FC236}">
                <a16:creationId xmlns:a16="http://schemas.microsoft.com/office/drawing/2014/main" id="{A18C31A7-AD4B-4BE1-8AC5-ADCFF446E1D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269237" y="4788119"/>
            <a:ext cx="8947503" cy="522386"/>
            <a:chOff x="506805" y="1895263"/>
            <a:chExt cx="8947503" cy="522386"/>
          </a:xfrm>
        </p:grpSpPr>
        <p:sp>
          <p:nvSpPr>
            <p:cNvPr id="39" name="Rectangle 38">
              <a:extLst>
                <a:ext uri="{FF2B5EF4-FFF2-40B4-BE49-F238E27FC236}">
                  <a16:creationId xmlns:a16="http://schemas.microsoft.com/office/drawing/2014/main" id="{E5320018-A66E-49D1-8E50-32D3EBB61CB8}"/>
                </a:ext>
              </a:extLst>
            </p:cNvPr>
            <p:cNvSpPr/>
            <p:nvPr/>
          </p:nvSpPr>
          <p:spPr>
            <a:xfrm>
              <a:off x="506805" y="1895263"/>
              <a:ext cx="8947503" cy="522386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05936" rtlCol="0" anchor="ctr"/>
            <a:lstStyle/>
            <a:p>
              <a:r>
                <a:rPr lang="en-GB" sz="1600">
                  <a:solidFill>
                    <a:schemeClr val="tx1"/>
                  </a:solidFill>
                </a:rPr>
                <a:t>Send completed deck back to the FastTrack SA 5 business day before the scheduled Gap Solution Design workshop</a:t>
              </a:r>
            </a:p>
          </p:txBody>
        </p:sp>
        <p:grpSp>
          <p:nvGrpSpPr>
            <p:cNvPr id="40" name="Group 39">
              <a:extLst>
                <a:ext uri="{FF2B5EF4-FFF2-40B4-BE49-F238E27FC236}">
                  <a16:creationId xmlns:a16="http://schemas.microsoft.com/office/drawing/2014/main" id="{FC462B02-7CD8-48DF-B448-363F78DD6D5A}"/>
                </a:ext>
              </a:extLst>
            </p:cNvPr>
            <p:cNvGrpSpPr/>
            <p:nvPr/>
          </p:nvGrpSpPr>
          <p:grpSpPr>
            <a:xfrm>
              <a:off x="730757" y="1993400"/>
              <a:ext cx="326112" cy="326112"/>
              <a:chOff x="115497" y="1864737"/>
              <a:chExt cx="461744" cy="461744"/>
            </a:xfrm>
            <a:solidFill>
              <a:schemeClr val="tx2"/>
            </a:solidFill>
          </p:grpSpPr>
          <p:sp>
            <p:nvSpPr>
              <p:cNvPr id="41" name="Freeform: Shape 40">
                <a:extLst>
                  <a:ext uri="{FF2B5EF4-FFF2-40B4-BE49-F238E27FC236}">
                    <a16:creationId xmlns:a16="http://schemas.microsoft.com/office/drawing/2014/main" id="{F1BDF2D6-0E5D-403A-9E43-BEE4486364D3}"/>
                  </a:ext>
                </a:extLst>
              </p:cNvPr>
              <p:cNvSpPr/>
              <p:nvPr/>
            </p:nvSpPr>
            <p:spPr bwMode="auto">
              <a:xfrm>
                <a:off x="115497" y="1864737"/>
                <a:ext cx="461744" cy="461744"/>
              </a:xfrm>
              <a:custGeom>
                <a:avLst/>
                <a:gdLst>
                  <a:gd name="connsiteX0" fmla="*/ 230872 w 461744"/>
                  <a:gd name="connsiteY0" fmla="*/ 30738 h 461744"/>
                  <a:gd name="connsiteX1" fmla="*/ 30738 w 461744"/>
                  <a:gd name="connsiteY1" fmla="*/ 230872 h 461744"/>
                  <a:gd name="connsiteX2" fmla="*/ 230872 w 461744"/>
                  <a:gd name="connsiteY2" fmla="*/ 431006 h 461744"/>
                  <a:gd name="connsiteX3" fmla="*/ 431006 w 461744"/>
                  <a:gd name="connsiteY3" fmla="*/ 230872 h 461744"/>
                  <a:gd name="connsiteX4" fmla="*/ 230872 w 461744"/>
                  <a:gd name="connsiteY4" fmla="*/ 30738 h 461744"/>
                  <a:gd name="connsiteX5" fmla="*/ 230872 w 461744"/>
                  <a:gd name="connsiteY5" fmla="*/ 0 h 461744"/>
                  <a:gd name="connsiteX6" fmla="*/ 461744 w 461744"/>
                  <a:gd name="connsiteY6" fmla="*/ 230872 h 461744"/>
                  <a:gd name="connsiteX7" fmla="*/ 230872 w 461744"/>
                  <a:gd name="connsiteY7" fmla="*/ 461744 h 461744"/>
                  <a:gd name="connsiteX8" fmla="*/ 0 w 461744"/>
                  <a:gd name="connsiteY8" fmla="*/ 230872 h 461744"/>
                  <a:gd name="connsiteX9" fmla="*/ 230872 w 461744"/>
                  <a:gd name="connsiteY9" fmla="*/ 0 h 4617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61744" h="461744">
                    <a:moveTo>
                      <a:pt x="230872" y="30738"/>
                    </a:moveTo>
                    <a:cubicBezTo>
                      <a:pt x="120341" y="30738"/>
                      <a:pt x="30738" y="120341"/>
                      <a:pt x="30738" y="230872"/>
                    </a:cubicBezTo>
                    <a:cubicBezTo>
                      <a:pt x="30738" y="341403"/>
                      <a:pt x="120341" y="431006"/>
                      <a:pt x="230872" y="431006"/>
                    </a:cubicBezTo>
                    <a:cubicBezTo>
                      <a:pt x="341403" y="431006"/>
                      <a:pt x="431006" y="341403"/>
                      <a:pt x="431006" y="230872"/>
                    </a:cubicBezTo>
                    <a:cubicBezTo>
                      <a:pt x="431006" y="120341"/>
                      <a:pt x="341403" y="30738"/>
                      <a:pt x="230872" y="30738"/>
                    </a:cubicBezTo>
                    <a:close/>
                    <a:moveTo>
                      <a:pt x="230872" y="0"/>
                    </a:moveTo>
                    <a:cubicBezTo>
                      <a:pt x="358379" y="0"/>
                      <a:pt x="461744" y="103365"/>
                      <a:pt x="461744" y="230872"/>
                    </a:cubicBezTo>
                    <a:cubicBezTo>
                      <a:pt x="461744" y="358379"/>
                      <a:pt x="358379" y="461744"/>
                      <a:pt x="230872" y="461744"/>
                    </a:cubicBezTo>
                    <a:cubicBezTo>
                      <a:pt x="103365" y="461744"/>
                      <a:pt x="0" y="358379"/>
                      <a:pt x="0" y="230872"/>
                    </a:cubicBezTo>
                    <a:cubicBezTo>
                      <a:pt x="0" y="103365"/>
                      <a:pt x="103365" y="0"/>
                      <a:pt x="230872" y="0"/>
                    </a:cubicBezTo>
                    <a:close/>
                  </a:path>
                </a:pathLst>
              </a:custGeom>
              <a:grpFill/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240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42" name="Graphic 77">
                <a:extLst>
                  <a:ext uri="{FF2B5EF4-FFF2-40B4-BE49-F238E27FC236}">
                    <a16:creationId xmlns:a16="http://schemas.microsoft.com/office/drawing/2014/main" id="{574C816B-4B98-4CCA-8ABF-EB122DB6E637}"/>
                  </a:ext>
                </a:extLst>
              </p:cNvPr>
              <p:cNvSpPr/>
              <p:nvPr/>
            </p:nvSpPr>
            <p:spPr>
              <a:xfrm>
                <a:off x="230796" y="2004258"/>
                <a:ext cx="243074" cy="175239"/>
              </a:xfrm>
              <a:custGeom>
                <a:avLst/>
                <a:gdLst>
                  <a:gd name="connsiteX0" fmla="*/ 349767 w 409575"/>
                  <a:gd name="connsiteY0" fmla="*/ 0 h 295275"/>
                  <a:gd name="connsiteX1" fmla="*/ 155475 w 409575"/>
                  <a:gd name="connsiteY1" fmla="*/ 182790 h 295275"/>
                  <a:gd name="connsiteX2" fmla="*/ 55043 w 409575"/>
                  <a:gd name="connsiteY2" fmla="*/ 107415 h 295275"/>
                  <a:gd name="connsiteX3" fmla="*/ 0 w 409575"/>
                  <a:gd name="connsiteY3" fmla="*/ 181147 h 295275"/>
                  <a:gd name="connsiteX4" fmla="*/ 131445 w 409575"/>
                  <a:gd name="connsiteY4" fmla="*/ 279731 h 295275"/>
                  <a:gd name="connsiteX5" fmla="*/ 163279 w 409575"/>
                  <a:gd name="connsiteY5" fmla="*/ 303556 h 295275"/>
                  <a:gd name="connsiteX6" fmla="*/ 191623 w 409575"/>
                  <a:gd name="connsiteY6" fmla="*/ 275418 h 295275"/>
                  <a:gd name="connsiteX7" fmla="*/ 415079 w 409575"/>
                  <a:gd name="connsiteY7" fmla="*/ 65106 h 295275"/>
                  <a:gd name="connsiteX8" fmla="*/ 349767 w 409575"/>
                  <a:gd name="connsiteY8" fmla="*/ 0 h 2952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09575" h="295275">
                    <a:moveTo>
                      <a:pt x="349767" y="0"/>
                    </a:moveTo>
                    <a:cubicBezTo>
                      <a:pt x="290526" y="59369"/>
                      <a:pt x="220475" y="120315"/>
                      <a:pt x="155475" y="182790"/>
                    </a:cubicBezTo>
                    <a:lnTo>
                      <a:pt x="55043" y="107415"/>
                    </a:lnTo>
                    <a:lnTo>
                      <a:pt x="0" y="181147"/>
                    </a:lnTo>
                    <a:lnTo>
                      <a:pt x="131445" y="279731"/>
                    </a:lnTo>
                    <a:lnTo>
                      <a:pt x="163279" y="303556"/>
                    </a:lnTo>
                    <a:lnTo>
                      <a:pt x="191623" y="275418"/>
                    </a:lnTo>
                    <a:cubicBezTo>
                      <a:pt x="259626" y="207269"/>
                      <a:pt x="342874" y="137467"/>
                      <a:pt x="415079" y="65106"/>
                    </a:cubicBezTo>
                    <a:lnTo>
                      <a:pt x="349767" y="0"/>
                    </a:lnTo>
                    <a:close/>
                  </a:path>
                </a:pathLst>
              </a:custGeom>
              <a:grpFill/>
              <a:ln w="657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grpSp>
        <p:nvGrpSpPr>
          <p:cNvPr id="73" name="Group 72">
            <a:extLst>
              <a:ext uri="{FF2B5EF4-FFF2-40B4-BE49-F238E27FC236}">
                <a16:creationId xmlns:a16="http://schemas.microsoft.com/office/drawing/2014/main" id="{AEE11099-064A-431F-8AE0-CE84BAA66EA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300280" y="2282166"/>
            <a:ext cx="10567323" cy="522386"/>
            <a:chOff x="506804" y="1895263"/>
            <a:chExt cx="10567323" cy="522386"/>
          </a:xfrm>
        </p:grpSpPr>
        <p:sp>
          <p:nvSpPr>
            <p:cNvPr id="74" name="Rectangle 73">
              <a:extLst>
                <a:ext uri="{FF2B5EF4-FFF2-40B4-BE49-F238E27FC236}">
                  <a16:creationId xmlns:a16="http://schemas.microsoft.com/office/drawing/2014/main" id="{D6DB623E-5BE1-4E5F-B54F-B6C5E9272ED0}"/>
                </a:ext>
              </a:extLst>
            </p:cNvPr>
            <p:cNvSpPr/>
            <p:nvPr/>
          </p:nvSpPr>
          <p:spPr>
            <a:xfrm>
              <a:off x="506804" y="1895263"/>
              <a:ext cx="10567323" cy="522386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05936" rtlCol="0" anchor="ctr"/>
            <a:lstStyle/>
            <a:p>
              <a:r>
                <a:rPr lang="en-GB" sz="1600">
                  <a:solidFill>
                    <a:schemeClr val="tx1"/>
                  </a:solidFill>
                </a:rPr>
                <a:t>Please complete slides providing required details for each gap. </a:t>
              </a:r>
              <a:br>
                <a:rPr lang="en-GB" sz="1600">
                  <a:solidFill>
                    <a:schemeClr val="tx1"/>
                  </a:solidFill>
                </a:rPr>
              </a:br>
              <a:r>
                <a:rPr lang="en-GB" sz="1600">
                  <a:solidFill>
                    <a:schemeClr val="tx1"/>
                  </a:solidFill>
                </a:rPr>
                <a:t>Alternatively, include artifacts listed in </a:t>
              </a:r>
              <a:r>
                <a:rPr lang="en-GB" sz="1600" b="1">
                  <a:solidFill>
                    <a:schemeClr val="tx1"/>
                  </a:solidFill>
                </a:rPr>
                <a:t>Prerequisites </a:t>
              </a:r>
              <a:r>
                <a:rPr lang="en-GB" sz="1600">
                  <a:solidFill>
                    <a:schemeClr val="tx1"/>
                  </a:solidFill>
                </a:rPr>
                <a:t>that provide required details for each gap.</a:t>
              </a:r>
            </a:p>
          </p:txBody>
        </p:sp>
        <p:grpSp>
          <p:nvGrpSpPr>
            <p:cNvPr id="75" name="Group 74">
              <a:extLst>
                <a:ext uri="{FF2B5EF4-FFF2-40B4-BE49-F238E27FC236}">
                  <a16:creationId xmlns:a16="http://schemas.microsoft.com/office/drawing/2014/main" id="{6122E3BF-6C82-477D-81D5-9765B2958484}"/>
                </a:ext>
              </a:extLst>
            </p:cNvPr>
            <p:cNvGrpSpPr/>
            <p:nvPr/>
          </p:nvGrpSpPr>
          <p:grpSpPr>
            <a:xfrm>
              <a:off x="730757" y="1993400"/>
              <a:ext cx="326112" cy="326112"/>
              <a:chOff x="115497" y="1864737"/>
              <a:chExt cx="461744" cy="461744"/>
            </a:xfrm>
            <a:solidFill>
              <a:schemeClr val="tx2"/>
            </a:solidFill>
          </p:grpSpPr>
          <p:sp>
            <p:nvSpPr>
              <p:cNvPr id="76" name="Freeform: Shape 75">
                <a:extLst>
                  <a:ext uri="{FF2B5EF4-FFF2-40B4-BE49-F238E27FC236}">
                    <a16:creationId xmlns:a16="http://schemas.microsoft.com/office/drawing/2014/main" id="{DB01C00E-AE4F-49C2-A687-73B65EB2938F}"/>
                  </a:ext>
                </a:extLst>
              </p:cNvPr>
              <p:cNvSpPr/>
              <p:nvPr/>
            </p:nvSpPr>
            <p:spPr bwMode="auto">
              <a:xfrm>
                <a:off x="115497" y="1864737"/>
                <a:ext cx="461744" cy="461744"/>
              </a:xfrm>
              <a:custGeom>
                <a:avLst/>
                <a:gdLst>
                  <a:gd name="connsiteX0" fmla="*/ 230872 w 461744"/>
                  <a:gd name="connsiteY0" fmla="*/ 30738 h 461744"/>
                  <a:gd name="connsiteX1" fmla="*/ 30738 w 461744"/>
                  <a:gd name="connsiteY1" fmla="*/ 230872 h 461744"/>
                  <a:gd name="connsiteX2" fmla="*/ 230872 w 461744"/>
                  <a:gd name="connsiteY2" fmla="*/ 431006 h 461744"/>
                  <a:gd name="connsiteX3" fmla="*/ 431006 w 461744"/>
                  <a:gd name="connsiteY3" fmla="*/ 230872 h 461744"/>
                  <a:gd name="connsiteX4" fmla="*/ 230872 w 461744"/>
                  <a:gd name="connsiteY4" fmla="*/ 30738 h 461744"/>
                  <a:gd name="connsiteX5" fmla="*/ 230872 w 461744"/>
                  <a:gd name="connsiteY5" fmla="*/ 0 h 461744"/>
                  <a:gd name="connsiteX6" fmla="*/ 461744 w 461744"/>
                  <a:gd name="connsiteY6" fmla="*/ 230872 h 461744"/>
                  <a:gd name="connsiteX7" fmla="*/ 230872 w 461744"/>
                  <a:gd name="connsiteY7" fmla="*/ 461744 h 461744"/>
                  <a:gd name="connsiteX8" fmla="*/ 0 w 461744"/>
                  <a:gd name="connsiteY8" fmla="*/ 230872 h 461744"/>
                  <a:gd name="connsiteX9" fmla="*/ 230872 w 461744"/>
                  <a:gd name="connsiteY9" fmla="*/ 0 h 4617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61744" h="461744">
                    <a:moveTo>
                      <a:pt x="230872" y="30738"/>
                    </a:moveTo>
                    <a:cubicBezTo>
                      <a:pt x="120341" y="30738"/>
                      <a:pt x="30738" y="120341"/>
                      <a:pt x="30738" y="230872"/>
                    </a:cubicBezTo>
                    <a:cubicBezTo>
                      <a:pt x="30738" y="341403"/>
                      <a:pt x="120341" y="431006"/>
                      <a:pt x="230872" y="431006"/>
                    </a:cubicBezTo>
                    <a:cubicBezTo>
                      <a:pt x="341403" y="431006"/>
                      <a:pt x="431006" y="341403"/>
                      <a:pt x="431006" y="230872"/>
                    </a:cubicBezTo>
                    <a:cubicBezTo>
                      <a:pt x="431006" y="120341"/>
                      <a:pt x="341403" y="30738"/>
                      <a:pt x="230872" y="30738"/>
                    </a:cubicBezTo>
                    <a:close/>
                    <a:moveTo>
                      <a:pt x="230872" y="0"/>
                    </a:moveTo>
                    <a:cubicBezTo>
                      <a:pt x="358379" y="0"/>
                      <a:pt x="461744" y="103365"/>
                      <a:pt x="461744" y="230872"/>
                    </a:cubicBezTo>
                    <a:cubicBezTo>
                      <a:pt x="461744" y="358379"/>
                      <a:pt x="358379" y="461744"/>
                      <a:pt x="230872" y="461744"/>
                    </a:cubicBezTo>
                    <a:cubicBezTo>
                      <a:pt x="103365" y="461744"/>
                      <a:pt x="0" y="358379"/>
                      <a:pt x="0" y="230872"/>
                    </a:cubicBezTo>
                    <a:cubicBezTo>
                      <a:pt x="0" y="103365"/>
                      <a:pt x="103365" y="0"/>
                      <a:pt x="230872" y="0"/>
                    </a:cubicBezTo>
                    <a:close/>
                  </a:path>
                </a:pathLst>
              </a:custGeom>
              <a:grpFill/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240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77" name="Graphic 77">
                <a:extLst>
                  <a:ext uri="{FF2B5EF4-FFF2-40B4-BE49-F238E27FC236}">
                    <a16:creationId xmlns:a16="http://schemas.microsoft.com/office/drawing/2014/main" id="{058DB4EC-92E7-4C6C-92AB-2BAE995B1F52}"/>
                  </a:ext>
                </a:extLst>
              </p:cNvPr>
              <p:cNvSpPr/>
              <p:nvPr/>
            </p:nvSpPr>
            <p:spPr>
              <a:xfrm>
                <a:off x="230796" y="2004258"/>
                <a:ext cx="243074" cy="175239"/>
              </a:xfrm>
              <a:custGeom>
                <a:avLst/>
                <a:gdLst>
                  <a:gd name="connsiteX0" fmla="*/ 349767 w 409575"/>
                  <a:gd name="connsiteY0" fmla="*/ 0 h 295275"/>
                  <a:gd name="connsiteX1" fmla="*/ 155475 w 409575"/>
                  <a:gd name="connsiteY1" fmla="*/ 182790 h 295275"/>
                  <a:gd name="connsiteX2" fmla="*/ 55043 w 409575"/>
                  <a:gd name="connsiteY2" fmla="*/ 107415 h 295275"/>
                  <a:gd name="connsiteX3" fmla="*/ 0 w 409575"/>
                  <a:gd name="connsiteY3" fmla="*/ 181147 h 295275"/>
                  <a:gd name="connsiteX4" fmla="*/ 131445 w 409575"/>
                  <a:gd name="connsiteY4" fmla="*/ 279731 h 295275"/>
                  <a:gd name="connsiteX5" fmla="*/ 163279 w 409575"/>
                  <a:gd name="connsiteY5" fmla="*/ 303556 h 295275"/>
                  <a:gd name="connsiteX6" fmla="*/ 191623 w 409575"/>
                  <a:gd name="connsiteY6" fmla="*/ 275418 h 295275"/>
                  <a:gd name="connsiteX7" fmla="*/ 415079 w 409575"/>
                  <a:gd name="connsiteY7" fmla="*/ 65106 h 295275"/>
                  <a:gd name="connsiteX8" fmla="*/ 349767 w 409575"/>
                  <a:gd name="connsiteY8" fmla="*/ 0 h 2952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09575" h="295275">
                    <a:moveTo>
                      <a:pt x="349767" y="0"/>
                    </a:moveTo>
                    <a:cubicBezTo>
                      <a:pt x="290526" y="59369"/>
                      <a:pt x="220475" y="120315"/>
                      <a:pt x="155475" y="182790"/>
                    </a:cubicBezTo>
                    <a:lnTo>
                      <a:pt x="55043" y="107415"/>
                    </a:lnTo>
                    <a:lnTo>
                      <a:pt x="0" y="181147"/>
                    </a:lnTo>
                    <a:lnTo>
                      <a:pt x="131445" y="279731"/>
                    </a:lnTo>
                    <a:lnTo>
                      <a:pt x="163279" y="303556"/>
                    </a:lnTo>
                    <a:lnTo>
                      <a:pt x="191623" y="275418"/>
                    </a:lnTo>
                    <a:cubicBezTo>
                      <a:pt x="259626" y="207269"/>
                      <a:pt x="342874" y="137467"/>
                      <a:pt x="415079" y="65106"/>
                    </a:cubicBezTo>
                    <a:lnTo>
                      <a:pt x="349767" y="0"/>
                    </a:lnTo>
                    <a:close/>
                  </a:path>
                </a:pathLst>
              </a:custGeom>
              <a:grpFill/>
              <a:ln w="657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3118765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C40D7E0-D5FA-4A86-93CD-A73C19FDE6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Prerequisites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2198C0BB-9516-4B5C-9E68-C156240CC91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269240" y="2914852"/>
            <a:ext cx="8947502" cy="522386"/>
            <a:chOff x="506805" y="1895263"/>
            <a:chExt cx="8947502" cy="522386"/>
          </a:xfrm>
        </p:grpSpPr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DCACA0F7-D8FB-43C8-8DDC-B70EB0228F25}"/>
                </a:ext>
              </a:extLst>
            </p:cNvPr>
            <p:cNvSpPr/>
            <p:nvPr/>
          </p:nvSpPr>
          <p:spPr>
            <a:xfrm>
              <a:off x="506805" y="1895263"/>
              <a:ext cx="8947502" cy="522386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05936" rtlCol="0" anchor="ctr"/>
            <a:lstStyle/>
            <a:p>
              <a:r>
                <a:rPr lang="en-GB" sz="1600">
                  <a:solidFill>
                    <a:schemeClr val="tx1"/>
                  </a:solidFill>
                </a:rPr>
                <a:t>Fit/Gap Analysis Documents (</a:t>
              </a:r>
              <a:r>
                <a:rPr lang="en-GB" sz="1600" b="1">
                  <a:solidFill>
                    <a:schemeClr val="tx1"/>
                  </a:solidFill>
                </a:rPr>
                <a:t>Learn</a:t>
              </a:r>
              <a:r>
                <a:rPr lang="en-GB" sz="1600">
                  <a:solidFill>
                    <a:schemeClr val="tx1"/>
                  </a:solidFill>
                </a:rPr>
                <a:t>: </a:t>
              </a:r>
              <a:r>
                <a:rPr lang="en-GB" sz="1600">
                  <a:solidFill>
                    <a:schemeClr val="tx1"/>
                  </a:solidFill>
                  <a:hlinkClick r:id="rId3"/>
                </a:rPr>
                <a:t>Perform fit gap analysis</a:t>
              </a:r>
              <a:r>
                <a:rPr lang="en-GB" sz="1600">
                  <a:solidFill>
                    <a:schemeClr val="tx1"/>
                  </a:solidFill>
                </a:rPr>
                <a:t>)</a:t>
              </a:r>
            </a:p>
          </p:txBody>
        </p:sp>
        <p:grpSp>
          <p:nvGrpSpPr>
            <p:cNvPr id="6" name="Group 5">
              <a:extLst>
                <a:ext uri="{FF2B5EF4-FFF2-40B4-BE49-F238E27FC236}">
                  <a16:creationId xmlns:a16="http://schemas.microsoft.com/office/drawing/2014/main" id="{CA703E1C-CB8D-4A0E-8619-2048FA9A9646}"/>
                </a:ext>
              </a:extLst>
            </p:cNvPr>
            <p:cNvGrpSpPr/>
            <p:nvPr/>
          </p:nvGrpSpPr>
          <p:grpSpPr>
            <a:xfrm>
              <a:off x="730757" y="1993400"/>
              <a:ext cx="326112" cy="326112"/>
              <a:chOff x="115497" y="1864737"/>
              <a:chExt cx="461744" cy="461744"/>
            </a:xfrm>
            <a:solidFill>
              <a:schemeClr val="tx2"/>
            </a:solidFill>
          </p:grpSpPr>
          <p:sp>
            <p:nvSpPr>
              <p:cNvPr id="7" name="Freeform: Shape 6">
                <a:extLst>
                  <a:ext uri="{FF2B5EF4-FFF2-40B4-BE49-F238E27FC236}">
                    <a16:creationId xmlns:a16="http://schemas.microsoft.com/office/drawing/2014/main" id="{980DCD9E-1565-480F-8834-1FCB8FB7778C}"/>
                  </a:ext>
                </a:extLst>
              </p:cNvPr>
              <p:cNvSpPr/>
              <p:nvPr/>
            </p:nvSpPr>
            <p:spPr bwMode="auto">
              <a:xfrm>
                <a:off x="115497" y="1864737"/>
                <a:ext cx="461744" cy="461744"/>
              </a:xfrm>
              <a:custGeom>
                <a:avLst/>
                <a:gdLst>
                  <a:gd name="connsiteX0" fmla="*/ 230872 w 461744"/>
                  <a:gd name="connsiteY0" fmla="*/ 30738 h 461744"/>
                  <a:gd name="connsiteX1" fmla="*/ 30738 w 461744"/>
                  <a:gd name="connsiteY1" fmla="*/ 230872 h 461744"/>
                  <a:gd name="connsiteX2" fmla="*/ 230872 w 461744"/>
                  <a:gd name="connsiteY2" fmla="*/ 431006 h 461744"/>
                  <a:gd name="connsiteX3" fmla="*/ 431006 w 461744"/>
                  <a:gd name="connsiteY3" fmla="*/ 230872 h 461744"/>
                  <a:gd name="connsiteX4" fmla="*/ 230872 w 461744"/>
                  <a:gd name="connsiteY4" fmla="*/ 30738 h 461744"/>
                  <a:gd name="connsiteX5" fmla="*/ 230872 w 461744"/>
                  <a:gd name="connsiteY5" fmla="*/ 0 h 461744"/>
                  <a:gd name="connsiteX6" fmla="*/ 461744 w 461744"/>
                  <a:gd name="connsiteY6" fmla="*/ 230872 h 461744"/>
                  <a:gd name="connsiteX7" fmla="*/ 230872 w 461744"/>
                  <a:gd name="connsiteY7" fmla="*/ 461744 h 461744"/>
                  <a:gd name="connsiteX8" fmla="*/ 0 w 461744"/>
                  <a:gd name="connsiteY8" fmla="*/ 230872 h 461744"/>
                  <a:gd name="connsiteX9" fmla="*/ 230872 w 461744"/>
                  <a:gd name="connsiteY9" fmla="*/ 0 h 4617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61744" h="461744">
                    <a:moveTo>
                      <a:pt x="230872" y="30738"/>
                    </a:moveTo>
                    <a:cubicBezTo>
                      <a:pt x="120341" y="30738"/>
                      <a:pt x="30738" y="120341"/>
                      <a:pt x="30738" y="230872"/>
                    </a:cubicBezTo>
                    <a:cubicBezTo>
                      <a:pt x="30738" y="341403"/>
                      <a:pt x="120341" y="431006"/>
                      <a:pt x="230872" y="431006"/>
                    </a:cubicBezTo>
                    <a:cubicBezTo>
                      <a:pt x="341403" y="431006"/>
                      <a:pt x="431006" y="341403"/>
                      <a:pt x="431006" y="230872"/>
                    </a:cubicBezTo>
                    <a:cubicBezTo>
                      <a:pt x="431006" y="120341"/>
                      <a:pt x="341403" y="30738"/>
                      <a:pt x="230872" y="30738"/>
                    </a:cubicBezTo>
                    <a:close/>
                    <a:moveTo>
                      <a:pt x="230872" y="0"/>
                    </a:moveTo>
                    <a:cubicBezTo>
                      <a:pt x="358379" y="0"/>
                      <a:pt x="461744" y="103365"/>
                      <a:pt x="461744" y="230872"/>
                    </a:cubicBezTo>
                    <a:cubicBezTo>
                      <a:pt x="461744" y="358379"/>
                      <a:pt x="358379" y="461744"/>
                      <a:pt x="230872" y="461744"/>
                    </a:cubicBezTo>
                    <a:cubicBezTo>
                      <a:pt x="103365" y="461744"/>
                      <a:pt x="0" y="358379"/>
                      <a:pt x="0" y="230872"/>
                    </a:cubicBezTo>
                    <a:cubicBezTo>
                      <a:pt x="0" y="103365"/>
                      <a:pt x="103365" y="0"/>
                      <a:pt x="230872" y="0"/>
                    </a:cubicBezTo>
                    <a:close/>
                  </a:path>
                </a:pathLst>
              </a:custGeom>
              <a:grpFill/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240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8" name="Graphic 77">
                <a:extLst>
                  <a:ext uri="{FF2B5EF4-FFF2-40B4-BE49-F238E27FC236}">
                    <a16:creationId xmlns:a16="http://schemas.microsoft.com/office/drawing/2014/main" id="{65DC38E7-D6C8-4469-BB7C-74D5DA5F6A86}"/>
                  </a:ext>
                </a:extLst>
              </p:cNvPr>
              <p:cNvSpPr/>
              <p:nvPr/>
            </p:nvSpPr>
            <p:spPr>
              <a:xfrm>
                <a:off x="230796" y="2004258"/>
                <a:ext cx="243074" cy="175239"/>
              </a:xfrm>
              <a:custGeom>
                <a:avLst/>
                <a:gdLst>
                  <a:gd name="connsiteX0" fmla="*/ 349767 w 409575"/>
                  <a:gd name="connsiteY0" fmla="*/ 0 h 295275"/>
                  <a:gd name="connsiteX1" fmla="*/ 155475 w 409575"/>
                  <a:gd name="connsiteY1" fmla="*/ 182790 h 295275"/>
                  <a:gd name="connsiteX2" fmla="*/ 55043 w 409575"/>
                  <a:gd name="connsiteY2" fmla="*/ 107415 h 295275"/>
                  <a:gd name="connsiteX3" fmla="*/ 0 w 409575"/>
                  <a:gd name="connsiteY3" fmla="*/ 181147 h 295275"/>
                  <a:gd name="connsiteX4" fmla="*/ 131445 w 409575"/>
                  <a:gd name="connsiteY4" fmla="*/ 279731 h 295275"/>
                  <a:gd name="connsiteX5" fmla="*/ 163279 w 409575"/>
                  <a:gd name="connsiteY5" fmla="*/ 303556 h 295275"/>
                  <a:gd name="connsiteX6" fmla="*/ 191623 w 409575"/>
                  <a:gd name="connsiteY6" fmla="*/ 275418 h 295275"/>
                  <a:gd name="connsiteX7" fmla="*/ 415079 w 409575"/>
                  <a:gd name="connsiteY7" fmla="*/ 65106 h 295275"/>
                  <a:gd name="connsiteX8" fmla="*/ 349767 w 409575"/>
                  <a:gd name="connsiteY8" fmla="*/ 0 h 2952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09575" h="295275">
                    <a:moveTo>
                      <a:pt x="349767" y="0"/>
                    </a:moveTo>
                    <a:cubicBezTo>
                      <a:pt x="290526" y="59369"/>
                      <a:pt x="220475" y="120315"/>
                      <a:pt x="155475" y="182790"/>
                    </a:cubicBezTo>
                    <a:lnTo>
                      <a:pt x="55043" y="107415"/>
                    </a:lnTo>
                    <a:lnTo>
                      <a:pt x="0" y="181147"/>
                    </a:lnTo>
                    <a:lnTo>
                      <a:pt x="131445" y="279731"/>
                    </a:lnTo>
                    <a:lnTo>
                      <a:pt x="163279" y="303556"/>
                    </a:lnTo>
                    <a:lnTo>
                      <a:pt x="191623" y="275418"/>
                    </a:lnTo>
                    <a:cubicBezTo>
                      <a:pt x="259626" y="207269"/>
                      <a:pt x="342874" y="137467"/>
                      <a:pt x="415079" y="65106"/>
                    </a:cubicBezTo>
                    <a:lnTo>
                      <a:pt x="349767" y="0"/>
                    </a:lnTo>
                    <a:close/>
                  </a:path>
                </a:pathLst>
              </a:custGeom>
              <a:grpFill/>
              <a:ln w="657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grpSp>
        <p:nvGrpSpPr>
          <p:cNvPr id="14" name="Group 13">
            <a:extLst>
              <a:ext uri="{FF2B5EF4-FFF2-40B4-BE49-F238E27FC236}">
                <a16:creationId xmlns:a16="http://schemas.microsoft.com/office/drawing/2014/main" id="{539AA6D0-2D2F-465A-8422-94D5CAB8CD8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269238" y="3535375"/>
            <a:ext cx="8947503" cy="522386"/>
            <a:chOff x="506805" y="1895263"/>
            <a:chExt cx="8947503" cy="522386"/>
          </a:xfrm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CBDE199F-738C-48F9-B2A1-07D56F822D7E}"/>
                </a:ext>
              </a:extLst>
            </p:cNvPr>
            <p:cNvSpPr/>
            <p:nvPr/>
          </p:nvSpPr>
          <p:spPr>
            <a:xfrm>
              <a:off x="506805" y="1895263"/>
              <a:ext cx="8947503" cy="522386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05936" rtlCol="0" anchor="ctr"/>
            <a:lstStyle/>
            <a:p>
              <a:r>
                <a:rPr lang="en-GB" sz="1600">
                  <a:solidFill>
                    <a:schemeClr val="tx1"/>
                  </a:solidFill>
                </a:rPr>
                <a:t>Functional Design Documents (</a:t>
              </a:r>
              <a:r>
                <a:rPr lang="en-GB" sz="1600" b="1">
                  <a:solidFill>
                    <a:schemeClr val="tx1"/>
                  </a:solidFill>
                </a:rPr>
                <a:t>Learn</a:t>
              </a:r>
              <a:r>
                <a:rPr lang="en-GB" sz="1600">
                  <a:solidFill>
                    <a:schemeClr val="tx1"/>
                  </a:solidFill>
                </a:rPr>
                <a:t>: </a:t>
              </a:r>
              <a:r>
                <a:rPr lang="en-GB" sz="1600">
                  <a:solidFill>
                    <a:schemeClr val="tx1"/>
                  </a:solidFill>
                  <a:hlinkClick r:id="rId4"/>
                </a:rPr>
                <a:t>Create functional design documents (FDD)</a:t>
              </a:r>
              <a:r>
                <a:rPr lang="en-GB" sz="1600">
                  <a:solidFill>
                    <a:schemeClr val="tx1"/>
                  </a:solidFill>
                </a:rPr>
                <a:t>) </a:t>
              </a:r>
            </a:p>
          </p:txBody>
        </p:sp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DB765834-44B4-4D59-B96A-4D07BD372023}"/>
                </a:ext>
              </a:extLst>
            </p:cNvPr>
            <p:cNvGrpSpPr/>
            <p:nvPr/>
          </p:nvGrpSpPr>
          <p:grpSpPr>
            <a:xfrm>
              <a:off x="730757" y="1993400"/>
              <a:ext cx="326112" cy="326112"/>
              <a:chOff x="115497" y="1864737"/>
              <a:chExt cx="461744" cy="461744"/>
            </a:xfrm>
            <a:solidFill>
              <a:schemeClr val="tx2"/>
            </a:solidFill>
          </p:grpSpPr>
          <p:sp>
            <p:nvSpPr>
              <p:cNvPr id="17" name="Freeform: Shape 16">
                <a:extLst>
                  <a:ext uri="{FF2B5EF4-FFF2-40B4-BE49-F238E27FC236}">
                    <a16:creationId xmlns:a16="http://schemas.microsoft.com/office/drawing/2014/main" id="{E2F1FDBB-D7C2-4066-81A0-81490BE00D94}"/>
                  </a:ext>
                </a:extLst>
              </p:cNvPr>
              <p:cNvSpPr/>
              <p:nvPr/>
            </p:nvSpPr>
            <p:spPr bwMode="auto">
              <a:xfrm>
                <a:off x="115497" y="1864737"/>
                <a:ext cx="461744" cy="461744"/>
              </a:xfrm>
              <a:custGeom>
                <a:avLst/>
                <a:gdLst>
                  <a:gd name="connsiteX0" fmla="*/ 230872 w 461744"/>
                  <a:gd name="connsiteY0" fmla="*/ 30738 h 461744"/>
                  <a:gd name="connsiteX1" fmla="*/ 30738 w 461744"/>
                  <a:gd name="connsiteY1" fmla="*/ 230872 h 461744"/>
                  <a:gd name="connsiteX2" fmla="*/ 230872 w 461744"/>
                  <a:gd name="connsiteY2" fmla="*/ 431006 h 461744"/>
                  <a:gd name="connsiteX3" fmla="*/ 431006 w 461744"/>
                  <a:gd name="connsiteY3" fmla="*/ 230872 h 461744"/>
                  <a:gd name="connsiteX4" fmla="*/ 230872 w 461744"/>
                  <a:gd name="connsiteY4" fmla="*/ 30738 h 461744"/>
                  <a:gd name="connsiteX5" fmla="*/ 230872 w 461744"/>
                  <a:gd name="connsiteY5" fmla="*/ 0 h 461744"/>
                  <a:gd name="connsiteX6" fmla="*/ 461744 w 461744"/>
                  <a:gd name="connsiteY6" fmla="*/ 230872 h 461744"/>
                  <a:gd name="connsiteX7" fmla="*/ 230872 w 461744"/>
                  <a:gd name="connsiteY7" fmla="*/ 461744 h 461744"/>
                  <a:gd name="connsiteX8" fmla="*/ 0 w 461744"/>
                  <a:gd name="connsiteY8" fmla="*/ 230872 h 461744"/>
                  <a:gd name="connsiteX9" fmla="*/ 230872 w 461744"/>
                  <a:gd name="connsiteY9" fmla="*/ 0 h 4617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61744" h="461744">
                    <a:moveTo>
                      <a:pt x="230872" y="30738"/>
                    </a:moveTo>
                    <a:cubicBezTo>
                      <a:pt x="120341" y="30738"/>
                      <a:pt x="30738" y="120341"/>
                      <a:pt x="30738" y="230872"/>
                    </a:cubicBezTo>
                    <a:cubicBezTo>
                      <a:pt x="30738" y="341403"/>
                      <a:pt x="120341" y="431006"/>
                      <a:pt x="230872" y="431006"/>
                    </a:cubicBezTo>
                    <a:cubicBezTo>
                      <a:pt x="341403" y="431006"/>
                      <a:pt x="431006" y="341403"/>
                      <a:pt x="431006" y="230872"/>
                    </a:cubicBezTo>
                    <a:cubicBezTo>
                      <a:pt x="431006" y="120341"/>
                      <a:pt x="341403" y="30738"/>
                      <a:pt x="230872" y="30738"/>
                    </a:cubicBezTo>
                    <a:close/>
                    <a:moveTo>
                      <a:pt x="230872" y="0"/>
                    </a:moveTo>
                    <a:cubicBezTo>
                      <a:pt x="358379" y="0"/>
                      <a:pt x="461744" y="103365"/>
                      <a:pt x="461744" y="230872"/>
                    </a:cubicBezTo>
                    <a:cubicBezTo>
                      <a:pt x="461744" y="358379"/>
                      <a:pt x="358379" y="461744"/>
                      <a:pt x="230872" y="461744"/>
                    </a:cubicBezTo>
                    <a:cubicBezTo>
                      <a:pt x="103365" y="461744"/>
                      <a:pt x="0" y="358379"/>
                      <a:pt x="0" y="230872"/>
                    </a:cubicBezTo>
                    <a:cubicBezTo>
                      <a:pt x="0" y="103365"/>
                      <a:pt x="103365" y="0"/>
                      <a:pt x="230872" y="0"/>
                    </a:cubicBezTo>
                    <a:close/>
                  </a:path>
                </a:pathLst>
              </a:custGeom>
              <a:grpFill/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240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18" name="Graphic 77">
                <a:extLst>
                  <a:ext uri="{FF2B5EF4-FFF2-40B4-BE49-F238E27FC236}">
                    <a16:creationId xmlns:a16="http://schemas.microsoft.com/office/drawing/2014/main" id="{A01E7263-0BFC-4A6C-B35E-F66DA3B777A1}"/>
                  </a:ext>
                </a:extLst>
              </p:cNvPr>
              <p:cNvSpPr/>
              <p:nvPr/>
            </p:nvSpPr>
            <p:spPr>
              <a:xfrm>
                <a:off x="230796" y="2004258"/>
                <a:ext cx="243074" cy="175239"/>
              </a:xfrm>
              <a:custGeom>
                <a:avLst/>
                <a:gdLst>
                  <a:gd name="connsiteX0" fmla="*/ 349767 w 409575"/>
                  <a:gd name="connsiteY0" fmla="*/ 0 h 295275"/>
                  <a:gd name="connsiteX1" fmla="*/ 155475 w 409575"/>
                  <a:gd name="connsiteY1" fmla="*/ 182790 h 295275"/>
                  <a:gd name="connsiteX2" fmla="*/ 55043 w 409575"/>
                  <a:gd name="connsiteY2" fmla="*/ 107415 h 295275"/>
                  <a:gd name="connsiteX3" fmla="*/ 0 w 409575"/>
                  <a:gd name="connsiteY3" fmla="*/ 181147 h 295275"/>
                  <a:gd name="connsiteX4" fmla="*/ 131445 w 409575"/>
                  <a:gd name="connsiteY4" fmla="*/ 279731 h 295275"/>
                  <a:gd name="connsiteX5" fmla="*/ 163279 w 409575"/>
                  <a:gd name="connsiteY5" fmla="*/ 303556 h 295275"/>
                  <a:gd name="connsiteX6" fmla="*/ 191623 w 409575"/>
                  <a:gd name="connsiteY6" fmla="*/ 275418 h 295275"/>
                  <a:gd name="connsiteX7" fmla="*/ 415079 w 409575"/>
                  <a:gd name="connsiteY7" fmla="*/ 65106 h 295275"/>
                  <a:gd name="connsiteX8" fmla="*/ 349767 w 409575"/>
                  <a:gd name="connsiteY8" fmla="*/ 0 h 2952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09575" h="295275">
                    <a:moveTo>
                      <a:pt x="349767" y="0"/>
                    </a:moveTo>
                    <a:cubicBezTo>
                      <a:pt x="290526" y="59369"/>
                      <a:pt x="220475" y="120315"/>
                      <a:pt x="155475" y="182790"/>
                    </a:cubicBezTo>
                    <a:lnTo>
                      <a:pt x="55043" y="107415"/>
                    </a:lnTo>
                    <a:lnTo>
                      <a:pt x="0" y="181147"/>
                    </a:lnTo>
                    <a:lnTo>
                      <a:pt x="131445" y="279731"/>
                    </a:lnTo>
                    <a:lnTo>
                      <a:pt x="163279" y="303556"/>
                    </a:lnTo>
                    <a:lnTo>
                      <a:pt x="191623" y="275418"/>
                    </a:lnTo>
                    <a:cubicBezTo>
                      <a:pt x="259626" y="207269"/>
                      <a:pt x="342874" y="137467"/>
                      <a:pt x="415079" y="65106"/>
                    </a:cubicBezTo>
                    <a:lnTo>
                      <a:pt x="349767" y="0"/>
                    </a:lnTo>
                    <a:close/>
                  </a:path>
                </a:pathLst>
              </a:custGeom>
              <a:grpFill/>
              <a:ln w="657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grpSp>
        <p:nvGrpSpPr>
          <p:cNvPr id="19" name="Group 18">
            <a:extLst>
              <a:ext uri="{FF2B5EF4-FFF2-40B4-BE49-F238E27FC236}">
                <a16:creationId xmlns:a16="http://schemas.microsoft.com/office/drawing/2014/main" id="{72EB8C5C-B697-4A72-B004-8BB13B09543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262069" y="4153655"/>
            <a:ext cx="8947503" cy="522386"/>
            <a:chOff x="506805" y="1895263"/>
            <a:chExt cx="8947503" cy="522386"/>
          </a:xfrm>
        </p:grpSpPr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A76BCD27-A91E-41A2-9AE0-9E606EDC08EC}"/>
                </a:ext>
              </a:extLst>
            </p:cNvPr>
            <p:cNvSpPr/>
            <p:nvPr/>
          </p:nvSpPr>
          <p:spPr>
            <a:xfrm>
              <a:off x="506805" y="1895263"/>
              <a:ext cx="8947503" cy="522386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05936" rtlCol="0" anchor="ctr"/>
            <a:lstStyle/>
            <a:p>
              <a:r>
                <a:rPr lang="en-GB" sz="1600">
                  <a:solidFill>
                    <a:schemeClr val="tx1"/>
                  </a:solidFill>
                </a:rPr>
                <a:t>Technical Design Documents </a:t>
              </a:r>
            </a:p>
          </p:txBody>
        </p:sp>
        <p:grpSp>
          <p:nvGrpSpPr>
            <p:cNvPr id="21" name="Group 20">
              <a:extLst>
                <a:ext uri="{FF2B5EF4-FFF2-40B4-BE49-F238E27FC236}">
                  <a16:creationId xmlns:a16="http://schemas.microsoft.com/office/drawing/2014/main" id="{5DC9501F-FA35-4CBA-820A-25888A78563D}"/>
                </a:ext>
              </a:extLst>
            </p:cNvPr>
            <p:cNvGrpSpPr/>
            <p:nvPr/>
          </p:nvGrpSpPr>
          <p:grpSpPr>
            <a:xfrm>
              <a:off x="730757" y="1993400"/>
              <a:ext cx="326112" cy="326112"/>
              <a:chOff x="115497" y="1864737"/>
              <a:chExt cx="461744" cy="461744"/>
            </a:xfrm>
            <a:solidFill>
              <a:schemeClr val="tx2"/>
            </a:solidFill>
          </p:grpSpPr>
          <p:sp>
            <p:nvSpPr>
              <p:cNvPr id="22" name="Freeform: Shape 21">
                <a:extLst>
                  <a:ext uri="{FF2B5EF4-FFF2-40B4-BE49-F238E27FC236}">
                    <a16:creationId xmlns:a16="http://schemas.microsoft.com/office/drawing/2014/main" id="{9E0600C6-02CC-44C6-993F-A119D0FFBD98}"/>
                  </a:ext>
                </a:extLst>
              </p:cNvPr>
              <p:cNvSpPr/>
              <p:nvPr/>
            </p:nvSpPr>
            <p:spPr bwMode="auto">
              <a:xfrm>
                <a:off x="115497" y="1864737"/>
                <a:ext cx="461744" cy="461744"/>
              </a:xfrm>
              <a:custGeom>
                <a:avLst/>
                <a:gdLst>
                  <a:gd name="connsiteX0" fmla="*/ 230872 w 461744"/>
                  <a:gd name="connsiteY0" fmla="*/ 30738 h 461744"/>
                  <a:gd name="connsiteX1" fmla="*/ 30738 w 461744"/>
                  <a:gd name="connsiteY1" fmla="*/ 230872 h 461744"/>
                  <a:gd name="connsiteX2" fmla="*/ 230872 w 461744"/>
                  <a:gd name="connsiteY2" fmla="*/ 431006 h 461744"/>
                  <a:gd name="connsiteX3" fmla="*/ 431006 w 461744"/>
                  <a:gd name="connsiteY3" fmla="*/ 230872 h 461744"/>
                  <a:gd name="connsiteX4" fmla="*/ 230872 w 461744"/>
                  <a:gd name="connsiteY4" fmla="*/ 30738 h 461744"/>
                  <a:gd name="connsiteX5" fmla="*/ 230872 w 461744"/>
                  <a:gd name="connsiteY5" fmla="*/ 0 h 461744"/>
                  <a:gd name="connsiteX6" fmla="*/ 461744 w 461744"/>
                  <a:gd name="connsiteY6" fmla="*/ 230872 h 461744"/>
                  <a:gd name="connsiteX7" fmla="*/ 230872 w 461744"/>
                  <a:gd name="connsiteY7" fmla="*/ 461744 h 461744"/>
                  <a:gd name="connsiteX8" fmla="*/ 0 w 461744"/>
                  <a:gd name="connsiteY8" fmla="*/ 230872 h 461744"/>
                  <a:gd name="connsiteX9" fmla="*/ 230872 w 461744"/>
                  <a:gd name="connsiteY9" fmla="*/ 0 h 4617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61744" h="461744">
                    <a:moveTo>
                      <a:pt x="230872" y="30738"/>
                    </a:moveTo>
                    <a:cubicBezTo>
                      <a:pt x="120341" y="30738"/>
                      <a:pt x="30738" y="120341"/>
                      <a:pt x="30738" y="230872"/>
                    </a:cubicBezTo>
                    <a:cubicBezTo>
                      <a:pt x="30738" y="341403"/>
                      <a:pt x="120341" y="431006"/>
                      <a:pt x="230872" y="431006"/>
                    </a:cubicBezTo>
                    <a:cubicBezTo>
                      <a:pt x="341403" y="431006"/>
                      <a:pt x="431006" y="341403"/>
                      <a:pt x="431006" y="230872"/>
                    </a:cubicBezTo>
                    <a:cubicBezTo>
                      <a:pt x="431006" y="120341"/>
                      <a:pt x="341403" y="30738"/>
                      <a:pt x="230872" y="30738"/>
                    </a:cubicBezTo>
                    <a:close/>
                    <a:moveTo>
                      <a:pt x="230872" y="0"/>
                    </a:moveTo>
                    <a:cubicBezTo>
                      <a:pt x="358379" y="0"/>
                      <a:pt x="461744" y="103365"/>
                      <a:pt x="461744" y="230872"/>
                    </a:cubicBezTo>
                    <a:cubicBezTo>
                      <a:pt x="461744" y="358379"/>
                      <a:pt x="358379" y="461744"/>
                      <a:pt x="230872" y="461744"/>
                    </a:cubicBezTo>
                    <a:cubicBezTo>
                      <a:pt x="103365" y="461744"/>
                      <a:pt x="0" y="358379"/>
                      <a:pt x="0" y="230872"/>
                    </a:cubicBezTo>
                    <a:cubicBezTo>
                      <a:pt x="0" y="103365"/>
                      <a:pt x="103365" y="0"/>
                      <a:pt x="230872" y="0"/>
                    </a:cubicBezTo>
                    <a:close/>
                  </a:path>
                </a:pathLst>
              </a:custGeom>
              <a:grpFill/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240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23" name="Graphic 77">
                <a:extLst>
                  <a:ext uri="{FF2B5EF4-FFF2-40B4-BE49-F238E27FC236}">
                    <a16:creationId xmlns:a16="http://schemas.microsoft.com/office/drawing/2014/main" id="{25D287C0-19E5-462B-89A8-CC5EE45568D5}"/>
                  </a:ext>
                </a:extLst>
              </p:cNvPr>
              <p:cNvSpPr/>
              <p:nvPr/>
            </p:nvSpPr>
            <p:spPr>
              <a:xfrm>
                <a:off x="230796" y="2004258"/>
                <a:ext cx="243074" cy="175239"/>
              </a:xfrm>
              <a:custGeom>
                <a:avLst/>
                <a:gdLst>
                  <a:gd name="connsiteX0" fmla="*/ 349767 w 409575"/>
                  <a:gd name="connsiteY0" fmla="*/ 0 h 295275"/>
                  <a:gd name="connsiteX1" fmla="*/ 155475 w 409575"/>
                  <a:gd name="connsiteY1" fmla="*/ 182790 h 295275"/>
                  <a:gd name="connsiteX2" fmla="*/ 55043 w 409575"/>
                  <a:gd name="connsiteY2" fmla="*/ 107415 h 295275"/>
                  <a:gd name="connsiteX3" fmla="*/ 0 w 409575"/>
                  <a:gd name="connsiteY3" fmla="*/ 181147 h 295275"/>
                  <a:gd name="connsiteX4" fmla="*/ 131445 w 409575"/>
                  <a:gd name="connsiteY4" fmla="*/ 279731 h 295275"/>
                  <a:gd name="connsiteX5" fmla="*/ 163279 w 409575"/>
                  <a:gd name="connsiteY5" fmla="*/ 303556 h 295275"/>
                  <a:gd name="connsiteX6" fmla="*/ 191623 w 409575"/>
                  <a:gd name="connsiteY6" fmla="*/ 275418 h 295275"/>
                  <a:gd name="connsiteX7" fmla="*/ 415079 w 409575"/>
                  <a:gd name="connsiteY7" fmla="*/ 65106 h 295275"/>
                  <a:gd name="connsiteX8" fmla="*/ 349767 w 409575"/>
                  <a:gd name="connsiteY8" fmla="*/ 0 h 2952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09575" h="295275">
                    <a:moveTo>
                      <a:pt x="349767" y="0"/>
                    </a:moveTo>
                    <a:cubicBezTo>
                      <a:pt x="290526" y="59369"/>
                      <a:pt x="220475" y="120315"/>
                      <a:pt x="155475" y="182790"/>
                    </a:cubicBezTo>
                    <a:lnTo>
                      <a:pt x="55043" y="107415"/>
                    </a:lnTo>
                    <a:lnTo>
                      <a:pt x="0" y="181147"/>
                    </a:lnTo>
                    <a:lnTo>
                      <a:pt x="131445" y="279731"/>
                    </a:lnTo>
                    <a:lnTo>
                      <a:pt x="163279" y="303556"/>
                    </a:lnTo>
                    <a:lnTo>
                      <a:pt x="191623" y="275418"/>
                    </a:lnTo>
                    <a:cubicBezTo>
                      <a:pt x="259626" y="207269"/>
                      <a:pt x="342874" y="137467"/>
                      <a:pt x="415079" y="65106"/>
                    </a:cubicBezTo>
                    <a:lnTo>
                      <a:pt x="349767" y="0"/>
                    </a:lnTo>
                    <a:close/>
                  </a:path>
                </a:pathLst>
              </a:custGeom>
              <a:grpFill/>
              <a:ln w="657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6" name="Rectangle 25">
            <a:extLst>
              <a:ext uri="{FF2B5EF4-FFF2-40B4-BE49-F238E27FC236}">
                <a16:creationId xmlns:a16="http://schemas.microsoft.com/office/drawing/2014/main" id="{663C5757-1699-4EEC-B106-3EDCEBC77B60}"/>
              </a:ext>
            </a:extLst>
          </p:cNvPr>
          <p:cNvSpPr/>
          <p:nvPr/>
        </p:nvSpPr>
        <p:spPr>
          <a:xfrm>
            <a:off x="1500052" y="1374543"/>
            <a:ext cx="10425027" cy="47502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2880" tIns="91427" rIns="182880" rtlCol="0" anchor="t" anchorCtr="0"/>
          <a:lstStyle/>
          <a:p>
            <a:pPr lvl="0" defTabSz="914225"/>
            <a:r>
              <a:rPr lang="en-GB" sz="2000">
                <a:ln w="3175">
                  <a:noFill/>
                </a:ln>
                <a:solidFill>
                  <a:srgbClr val="008272"/>
                </a:solidFill>
                <a:latin typeface="Segoe UI Semibold"/>
                <a:cs typeface="Segoe UI" pitchFamily="34" charset="0"/>
              </a:rPr>
              <a:t>Please provide below documentation where available/appropriate</a:t>
            </a:r>
          </a:p>
        </p:txBody>
      </p:sp>
      <p:sp>
        <p:nvSpPr>
          <p:cNvPr id="27" name="Rectangle: Rounded Corners 14">
            <a:extLst>
              <a:ext uri="{FF2B5EF4-FFF2-40B4-BE49-F238E27FC236}">
                <a16:creationId xmlns:a16="http://schemas.microsoft.com/office/drawing/2014/main" id="{DCE5A92F-C92B-4F66-874C-5662BB0FE97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405657" y="1762061"/>
            <a:ext cx="976312" cy="87504"/>
          </a:xfrm>
          <a:custGeom>
            <a:avLst/>
            <a:gdLst>
              <a:gd name="connsiteX0" fmla="*/ 0 w 1168400"/>
              <a:gd name="connsiteY0" fmla="*/ 104721 h 209442"/>
              <a:gd name="connsiteX1" fmla="*/ 104721 w 1168400"/>
              <a:gd name="connsiteY1" fmla="*/ 0 h 209442"/>
              <a:gd name="connsiteX2" fmla="*/ 1063679 w 1168400"/>
              <a:gd name="connsiteY2" fmla="*/ 0 h 209442"/>
              <a:gd name="connsiteX3" fmla="*/ 1168400 w 1168400"/>
              <a:gd name="connsiteY3" fmla="*/ 104721 h 209442"/>
              <a:gd name="connsiteX4" fmla="*/ 1168400 w 1168400"/>
              <a:gd name="connsiteY4" fmla="*/ 104721 h 209442"/>
              <a:gd name="connsiteX5" fmla="*/ 1063679 w 1168400"/>
              <a:gd name="connsiteY5" fmla="*/ 209442 h 209442"/>
              <a:gd name="connsiteX6" fmla="*/ 104721 w 1168400"/>
              <a:gd name="connsiteY6" fmla="*/ 209442 h 209442"/>
              <a:gd name="connsiteX7" fmla="*/ 0 w 1168400"/>
              <a:gd name="connsiteY7" fmla="*/ 104721 h 209442"/>
              <a:gd name="connsiteX0" fmla="*/ 0 w 1168400"/>
              <a:gd name="connsiteY0" fmla="*/ 104721 h 209442"/>
              <a:gd name="connsiteX1" fmla="*/ 104721 w 1168400"/>
              <a:gd name="connsiteY1" fmla="*/ 0 h 209442"/>
              <a:gd name="connsiteX2" fmla="*/ 1063679 w 1168400"/>
              <a:gd name="connsiteY2" fmla="*/ 0 h 209442"/>
              <a:gd name="connsiteX3" fmla="*/ 1168400 w 1168400"/>
              <a:gd name="connsiteY3" fmla="*/ 104721 h 209442"/>
              <a:gd name="connsiteX4" fmla="*/ 1168400 w 1168400"/>
              <a:gd name="connsiteY4" fmla="*/ 104721 h 209442"/>
              <a:gd name="connsiteX5" fmla="*/ 1063679 w 1168400"/>
              <a:gd name="connsiteY5" fmla="*/ 209442 h 209442"/>
              <a:gd name="connsiteX6" fmla="*/ 104721 w 1168400"/>
              <a:gd name="connsiteY6" fmla="*/ 209442 h 209442"/>
              <a:gd name="connsiteX7" fmla="*/ 91440 w 1168400"/>
              <a:gd name="connsiteY7" fmla="*/ 196161 h 209442"/>
              <a:gd name="connsiteX0" fmla="*/ 0 w 1168400"/>
              <a:gd name="connsiteY0" fmla="*/ 104721 h 209442"/>
              <a:gd name="connsiteX1" fmla="*/ 104721 w 1168400"/>
              <a:gd name="connsiteY1" fmla="*/ 0 h 209442"/>
              <a:gd name="connsiteX2" fmla="*/ 1063679 w 1168400"/>
              <a:gd name="connsiteY2" fmla="*/ 0 h 209442"/>
              <a:gd name="connsiteX3" fmla="*/ 1168400 w 1168400"/>
              <a:gd name="connsiteY3" fmla="*/ 104721 h 209442"/>
              <a:gd name="connsiteX4" fmla="*/ 1168400 w 1168400"/>
              <a:gd name="connsiteY4" fmla="*/ 104721 h 209442"/>
              <a:gd name="connsiteX5" fmla="*/ 1063679 w 1168400"/>
              <a:gd name="connsiteY5" fmla="*/ 209442 h 209442"/>
              <a:gd name="connsiteX6" fmla="*/ 104721 w 1168400"/>
              <a:gd name="connsiteY6" fmla="*/ 209442 h 209442"/>
              <a:gd name="connsiteX0" fmla="*/ 0 w 1168400"/>
              <a:gd name="connsiteY0" fmla="*/ 104721 h 209442"/>
              <a:gd name="connsiteX1" fmla="*/ 104721 w 1168400"/>
              <a:gd name="connsiteY1" fmla="*/ 0 h 209442"/>
              <a:gd name="connsiteX2" fmla="*/ 1063679 w 1168400"/>
              <a:gd name="connsiteY2" fmla="*/ 0 h 209442"/>
              <a:gd name="connsiteX3" fmla="*/ 1168400 w 1168400"/>
              <a:gd name="connsiteY3" fmla="*/ 104721 h 209442"/>
              <a:gd name="connsiteX4" fmla="*/ 1168400 w 1168400"/>
              <a:gd name="connsiteY4" fmla="*/ 104721 h 209442"/>
              <a:gd name="connsiteX5" fmla="*/ 1063679 w 1168400"/>
              <a:gd name="connsiteY5" fmla="*/ 209442 h 209442"/>
              <a:gd name="connsiteX0" fmla="*/ 0 w 1168400"/>
              <a:gd name="connsiteY0" fmla="*/ 104721 h 104721"/>
              <a:gd name="connsiteX1" fmla="*/ 104721 w 1168400"/>
              <a:gd name="connsiteY1" fmla="*/ 0 h 104721"/>
              <a:gd name="connsiteX2" fmla="*/ 1063679 w 1168400"/>
              <a:gd name="connsiteY2" fmla="*/ 0 h 104721"/>
              <a:gd name="connsiteX3" fmla="*/ 1168400 w 1168400"/>
              <a:gd name="connsiteY3" fmla="*/ 104721 h 104721"/>
              <a:gd name="connsiteX4" fmla="*/ 1168400 w 1168400"/>
              <a:gd name="connsiteY4" fmla="*/ 104721 h 1047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68400" h="104721">
                <a:moveTo>
                  <a:pt x="0" y="104721"/>
                </a:moveTo>
                <a:cubicBezTo>
                  <a:pt x="0" y="46885"/>
                  <a:pt x="46885" y="0"/>
                  <a:pt x="104721" y="0"/>
                </a:cubicBezTo>
                <a:lnTo>
                  <a:pt x="1063679" y="0"/>
                </a:lnTo>
                <a:cubicBezTo>
                  <a:pt x="1121515" y="0"/>
                  <a:pt x="1168400" y="46885"/>
                  <a:pt x="1168400" y="104721"/>
                </a:cubicBezTo>
                <a:lnTo>
                  <a:pt x="1168400" y="104721"/>
                </a:lnTo>
              </a:path>
            </a:pathLst>
          </a:custGeom>
          <a:solidFill>
            <a:schemeClr val="tx1">
              <a:lumMod val="60000"/>
              <a:lumOff val="4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29C32889-46E6-46E1-BDDB-F4E1B89101C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1" y="1858175"/>
            <a:ext cx="11925078" cy="0"/>
          </a:xfrm>
          <a:prstGeom prst="line">
            <a:avLst/>
          </a:prstGeom>
          <a:ln w="2857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9" name="Group 28">
            <a:extLst>
              <a:ext uri="{FF2B5EF4-FFF2-40B4-BE49-F238E27FC236}">
                <a16:creationId xmlns:a16="http://schemas.microsoft.com/office/drawing/2014/main" id="{8D250A39-0E81-43A6-AC4D-FC3740A5595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650727" y="1143371"/>
            <a:ext cx="497036" cy="499600"/>
            <a:chOff x="8121835" y="4193647"/>
            <a:chExt cx="847725" cy="852101"/>
          </a:xfrm>
        </p:grpSpPr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F6A2ECE2-C1EF-4E34-8665-A7902605E514}"/>
                </a:ext>
              </a:extLst>
            </p:cNvPr>
            <p:cNvSpPr/>
            <p:nvPr/>
          </p:nvSpPr>
          <p:spPr>
            <a:xfrm>
              <a:off x="8121835" y="4242767"/>
              <a:ext cx="847725" cy="152400"/>
            </a:xfrm>
            <a:custGeom>
              <a:avLst/>
              <a:gdLst>
                <a:gd name="connsiteX0" fmla="*/ 826296 w 847725"/>
                <a:gd name="connsiteY0" fmla="*/ 0 h 152400"/>
                <a:gd name="connsiteX1" fmla="*/ 738024 w 847725"/>
                <a:gd name="connsiteY1" fmla="*/ 0 h 152400"/>
                <a:gd name="connsiteX2" fmla="*/ 738024 w 847725"/>
                <a:gd name="connsiteY2" fmla="*/ 58298 h 152400"/>
                <a:gd name="connsiteX3" fmla="*/ 710224 w 847725"/>
                <a:gd name="connsiteY3" fmla="*/ 86096 h 152400"/>
                <a:gd name="connsiteX4" fmla="*/ 682423 w 847725"/>
                <a:gd name="connsiteY4" fmla="*/ 58298 h 152400"/>
                <a:gd name="connsiteX5" fmla="*/ 682423 w 847725"/>
                <a:gd name="connsiteY5" fmla="*/ 0 h 152400"/>
                <a:gd name="connsiteX6" fmla="*/ 549318 w 847725"/>
                <a:gd name="connsiteY6" fmla="*/ 0 h 152400"/>
                <a:gd name="connsiteX7" fmla="*/ 549318 w 847725"/>
                <a:gd name="connsiteY7" fmla="*/ 58298 h 152400"/>
                <a:gd name="connsiteX8" fmla="*/ 521516 w 847725"/>
                <a:gd name="connsiteY8" fmla="*/ 86096 h 152400"/>
                <a:gd name="connsiteX9" fmla="*/ 493718 w 847725"/>
                <a:gd name="connsiteY9" fmla="*/ 58298 h 152400"/>
                <a:gd name="connsiteX10" fmla="*/ 493718 w 847725"/>
                <a:gd name="connsiteY10" fmla="*/ 0 h 152400"/>
                <a:gd name="connsiteX11" fmla="*/ 360611 w 847725"/>
                <a:gd name="connsiteY11" fmla="*/ 0 h 152400"/>
                <a:gd name="connsiteX12" fmla="*/ 360611 w 847725"/>
                <a:gd name="connsiteY12" fmla="*/ 58298 h 152400"/>
                <a:gd name="connsiteX13" fmla="*/ 332809 w 847725"/>
                <a:gd name="connsiteY13" fmla="*/ 86096 h 152400"/>
                <a:gd name="connsiteX14" fmla="*/ 305011 w 847725"/>
                <a:gd name="connsiteY14" fmla="*/ 58298 h 152400"/>
                <a:gd name="connsiteX15" fmla="*/ 305011 w 847725"/>
                <a:gd name="connsiteY15" fmla="*/ 0 h 152400"/>
                <a:gd name="connsiteX16" fmla="*/ 171904 w 847725"/>
                <a:gd name="connsiteY16" fmla="*/ 0 h 152400"/>
                <a:gd name="connsiteX17" fmla="*/ 171904 w 847725"/>
                <a:gd name="connsiteY17" fmla="*/ 58298 h 152400"/>
                <a:gd name="connsiteX18" fmla="*/ 144106 w 847725"/>
                <a:gd name="connsiteY18" fmla="*/ 86096 h 152400"/>
                <a:gd name="connsiteX19" fmla="*/ 116304 w 847725"/>
                <a:gd name="connsiteY19" fmla="*/ 58298 h 152400"/>
                <a:gd name="connsiteX20" fmla="*/ 116304 w 847725"/>
                <a:gd name="connsiteY20" fmla="*/ 0 h 152400"/>
                <a:gd name="connsiteX21" fmla="*/ 28073 w 847725"/>
                <a:gd name="connsiteY21" fmla="*/ 0 h 152400"/>
                <a:gd name="connsiteX22" fmla="*/ 0 w 847725"/>
                <a:gd name="connsiteY22" fmla="*/ 28069 h 152400"/>
                <a:gd name="connsiteX23" fmla="*/ 0 w 847725"/>
                <a:gd name="connsiteY23" fmla="*/ 160770 h 152400"/>
                <a:gd name="connsiteX24" fmla="*/ 854366 w 847725"/>
                <a:gd name="connsiteY24" fmla="*/ 160770 h 152400"/>
                <a:gd name="connsiteX25" fmla="*/ 854366 w 847725"/>
                <a:gd name="connsiteY25" fmla="*/ 28069 h 152400"/>
                <a:gd name="connsiteX26" fmla="*/ 826296 w 847725"/>
                <a:gd name="connsiteY26" fmla="*/ 0 h 152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847725" h="152400">
                  <a:moveTo>
                    <a:pt x="826296" y="0"/>
                  </a:moveTo>
                  <a:lnTo>
                    <a:pt x="738024" y="0"/>
                  </a:lnTo>
                  <a:lnTo>
                    <a:pt x="738024" y="58298"/>
                  </a:lnTo>
                  <a:cubicBezTo>
                    <a:pt x="738024" y="73627"/>
                    <a:pt x="725550" y="86096"/>
                    <a:pt x="710224" y="86096"/>
                  </a:cubicBezTo>
                  <a:cubicBezTo>
                    <a:pt x="694897" y="86096"/>
                    <a:pt x="682423" y="73627"/>
                    <a:pt x="682423" y="58298"/>
                  </a:cubicBezTo>
                  <a:lnTo>
                    <a:pt x="682423" y="0"/>
                  </a:lnTo>
                  <a:lnTo>
                    <a:pt x="549318" y="0"/>
                  </a:lnTo>
                  <a:lnTo>
                    <a:pt x="549318" y="58298"/>
                  </a:lnTo>
                  <a:cubicBezTo>
                    <a:pt x="549318" y="73627"/>
                    <a:pt x="536846" y="86096"/>
                    <a:pt x="521516" y="86096"/>
                  </a:cubicBezTo>
                  <a:cubicBezTo>
                    <a:pt x="506187" y="86096"/>
                    <a:pt x="493718" y="73627"/>
                    <a:pt x="493718" y="58298"/>
                  </a:cubicBezTo>
                  <a:lnTo>
                    <a:pt x="493718" y="0"/>
                  </a:lnTo>
                  <a:lnTo>
                    <a:pt x="360611" y="0"/>
                  </a:lnTo>
                  <a:lnTo>
                    <a:pt x="360611" y="58298"/>
                  </a:lnTo>
                  <a:cubicBezTo>
                    <a:pt x="360611" y="73627"/>
                    <a:pt x="348139" y="86096"/>
                    <a:pt x="332809" y="86096"/>
                  </a:cubicBezTo>
                  <a:cubicBezTo>
                    <a:pt x="317480" y="86096"/>
                    <a:pt x="305011" y="73627"/>
                    <a:pt x="305011" y="58298"/>
                  </a:cubicBezTo>
                  <a:lnTo>
                    <a:pt x="305011" y="0"/>
                  </a:lnTo>
                  <a:lnTo>
                    <a:pt x="171904" y="0"/>
                  </a:lnTo>
                  <a:lnTo>
                    <a:pt x="171904" y="58298"/>
                  </a:lnTo>
                  <a:cubicBezTo>
                    <a:pt x="171904" y="73627"/>
                    <a:pt x="159435" y="86096"/>
                    <a:pt x="144106" y="86096"/>
                  </a:cubicBezTo>
                  <a:cubicBezTo>
                    <a:pt x="128777" y="86096"/>
                    <a:pt x="116304" y="73627"/>
                    <a:pt x="116304" y="58298"/>
                  </a:cubicBezTo>
                  <a:lnTo>
                    <a:pt x="116304" y="0"/>
                  </a:lnTo>
                  <a:lnTo>
                    <a:pt x="28073" y="0"/>
                  </a:lnTo>
                  <a:cubicBezTo>
                    <a:pt x="12595" y="0"/>
                    <a:pt x="0" y="12594"/>
                    <a:pt x="0" y="28069"/>
                  </a:cubicBezTo>
                  <a:lnTo>
                    <a:pt x="0" y="160770"/>
                  </a:lnTo>
                  <a:lnTo>
                    <a:pt x="854366" y="160770"/>
                  </a:lnTo>
                  <a:lnTo>
                    <a:pt x="854366" y="28069"/>
                  </a:lnTo>
                  <a:cubicBezTo>
                    <a:pt x="854366" y="12594"/>
                    <a:pt x="841774" y="0"/>
                    <a:pt x="826296" y="0"/>
                  </a:cubicBezTo>
                  <a:close/>
                </a:path>
              </a:pathLst>
            </a:custGeom>
            <a:solidFill>
              <a:schemeClr val="accent2"/>
            </a:solidFill>
            <a:ln w="65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75C682D5-CC31-495A-A800-10CFE6264E1B}"/>
                </a:ext>
              </a:extLst>
            </p:cNvPr>
            <p:cNvSpPr/>
            <p:nvPr/>
          </p:nvSpPr>
          <p:spPr>
            <a:xfrm>
              <a:off x="8817823" y="4193647"/>
              <a:ext cx="19050" cy="114300"/>
            </a:xfrm>
            <a:custGeom>
              <a:avLst/>
              <a:gdLst>
                <a:gd name="connsiteX0" fmla="*/ 14235 w 19050"/>
                <a:gd name="connsiteY0" fmla="*/ 121655 h 114300"/>
                <a:gd name="connsiteX1" fmla="*/ 28471 w 19050"/>
                <a:gd name="connsiteY1" fmla="*/ 107418 h 114300"/>
                <a:gd name="connsiteX2" fmla="*/ 28471 w 19050"/>
                <a:gd name="connsiteY2" fmla="*/ 42405 h 114300"/>
                <a:gd name="connsiteX3" fmla="*/ 28458 w 19050"/>
                <a:gd name="connsiteY3" fmla="*/ 42340 h 114300"/>
                <a:gd name="connsiteX4" fmla="*/ 28471 w 19050"/>
                <a:gd name="connsiteY4" fmla="*/ 42274 h 114300"/>
                <a:gd name="connsiteX5" fmla="*/ 28471 w 19050"/>
                <a:gd name="connsiteY5" fmla="*/ 14243 h 114300"/>
                <a:gd name="connsiteX6" fmla="*/ 14235 w 19050"/>
                <a:gd name="connsiteY6" fmla="*/ 0 h 114300"/>
                <a:gd name="connsiteX7" fmla="*/ 0 w 19050"/>
                <a:gd name="connsiteY7" fmla="*/ 14243 h 114300"/>
                <a:gd name="connsiteX8" fmla="*/ 0 w 19050"/>
                <a:gd name="connsiteY8" fmla="*/ 107418 h 114300"/>
                <a:gd name="connsiteX9" fmla="*/ 14235 w 19050"/>
                <a:gd name="connsiteY9" fmla="*/ 121655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9050" h="114300">
                  <a:moveTo>
                    <a:pt x="14235" y="121655"/>
                  </a:moveTo>
                  <a:cubicBezTo>
                    <a:pt x="22083" y="121655"/>
                    <a:pt x="28471" y="115271"/>
                    <a:pt x="28471" y="107418"/>
                  </a:cubicBezTo>
                  <a:lnTo>
                    <a:pt x="28471" y="42405"/>
                  </a:lnTo>
                  <a:cubicBezTo>
                    <a:pt x="28471" y="42382"/>
                    <a:pt x="28458" y="42363"/>
                    <a:pt x="28458" y="42340"/>
                  </a:cubicBezTo>
                  <a:cubicBezTo>
                    <a:pt x="28458" y="42316"/>
                    <a:pt x="28471" y="42297"/>
                    <a:pt x="28471" y="42274"/>
                  </a:cubicBezTo>
                  <a:lnTo>
                    <a:pt x="28471" y="14243"/>
                  </a:lnTo>
                  <a:cubicBezTo>
                    <a:pt x="28471" y="6390"/>
                    <a:pt x="22083" y="0"/>
                    <a:pt x="14235" y="0"/>
                  </a:cubicBezTo>
                  <a:cubicBezTo>
                    <a:pt x="6388" y="0"/>
                    <a:pt x="0" y="6390"/>
                    <a:pt x="0" y="14243"/>
                  </a:cubicBezTo>
                  <a:lnTo>
                    <a:pt x="0" y="107418"/>
                  </a:lnTo>
                  <a:cubicBezTo>
                    <a:pt x="0" y="115271"/>
                    <a:pt x="6388" y="121655"/>
                    <a:pt x="14235" y="121655"/>
                  </a:cubicBezTo>
                  <a:close/>
                </a:path>
              </a:pathLst>
            </a:custGeom>
            <a:solidFill>
              <a:schemeClr val="accent2"/>
            </a:solidFill>
            <a:ln w="65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915036A0-D284-47F3-9C31-C1DF2429B9F2}"/>
                </a:ext>
              </a:extLst>
            </p:cNvPr>
            <p:cNvSpPr/>
            <p:nvPr/>
          </p:nvSpPr>
          <p:spPr>
            <a:xfrm>
              <a:off x="8440408" y="4193647"/>
              <a:ext cx="19050" cy="114300"/>
            </a:xfrm>
            <a:custGeom>
              <a:avLst/>
              <a:gdLst>
                <a:gd name="connsiteX0" fmla="*/ 14237 w 19050"/>
                <a:gd name="connsiteY0" fmla="*/ 121655 h 114300"/>
                <a:gd name="connsiteX1" fmla="*/ 28477 w 19050"/>
                <a:gd name="connsiteY1" fmla="*/ 107418 h 114300"/>
                <a:gd name="connsiteX2" fmla="*/ 28477 w 19050"/>
                <a:gd name="connsiteY2" fmla="*/ 42421 h 114300"/>
                <a:gd name="connsiteX3" fmla="*/ 28460 w 19050"/>
                <a:gd name="connsiteY3" fmla="*/ 42340 h 114300"/>
                <a:gd name="connsiteX4" fmla="*/ 28477 w 19050"/>
                <a:gd name="connsiteY4" fmla="*/ 42258 h 114300"/>
                <a:gd name="connsiteX5" fmla="*/ 28477 w 19050"/>
                <a:gd name="connsiteY5" fmla="*/ 14243 h 114300"/>
                <a:gd name="connsiteX6" fmla="*/ 14237 w 19050"/>
                <a:gd name="connsiteY6" fmla="*/ 0 h 114300"/>
                <a:gd name="connsiteX7" fmla="*/ 0 w 19050"/>
                <a:gd name="connsiteY7" fmla="*/ 14243 h 114300"/>
                <a:gd name="connsiteX8" fmla="*/ 0 w 19050"/>
                <a:gd name="connsiteY8" fmla="*/ 107418 h 114300"/>
                <a:gd name="connsiteX9" fmla="*/ 14237 w 19050"/>
                <a:gd name="connsiteY9" fmla="*/ 121655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9050" h="114300">
                  <a:moveTo>
                    <a:pt x="14237" y="121655"/>
                  </a:moveTo>
                  <a:cubicBezTo>
                    <a:pt x="22091" y="121655"/>
                    <a:pt x="28477" y="115271"/>
                    <a:pt x="28477" y="107418"/>
                  </a:cubicBezTo>
                  <a:lnTo>
                    <a:pt x="28477" y="42421"/>
                  </a:lnTo>
                  <a:cubicBezTo>
                    <a:pt x="28477" y="42392"/>
                    <a:pt x="28460" y="42369"/>
                    <a:pt x="28460" y="42340"/>
                  </a:cubicBezTo>
                  <a:cubicBezTo>
                    <a:pt x="28460" y="42311"/>
                    <a:pt x="28477" y="42287"/>
                    <a:pt x="28477" y="42258"/>
                  </a:cubicBezTo>
                  <a:lnTo>
                    <a:pt x="28477" y="14243"/>
                  </a:lnTo>
                  <a:cubicBezTo>
                    <a:pt x="28477" y="6390"/>
                    <a:pt x="22091" y="0"/>
                    <a:pt x="14237" y="0"/>
                  </a:cubicBezTo>
                  <a:cubicBezTo>
                    <a:pt x="6387" y="0"/>
                    <a:pt x="0" y="6390"/>
                    <a:pt x="0" y="14243"/>
                  </a:cubicBezTo>
                  <a:lnTo>
                    <a:pt x="0" y="107418"/>
                  </a:lnTo>
                  <a:cubicBezTo>
                    <a:pt x="0" y="115271"/>
                    <a:pt x="6387" y="121655"/>
                    <a:pt x="14237" y="121655"/>
                  </a:cubicBezTo>
                  <a:close/>
                </a:path>
              </a:pathLst>
            </a:custGeom>
            <a:solidFill>
              <a:schemeClr val="accent2"/>
            </a:solidFill>
            <a:ln w="65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570D7C7B-ECF0-4110-92CD-7480EA4A01C4}"/>
                </a:ext>
              </a:extLst>
            </p:cNvPr>
            <p:cNvSpPr/>
            <p:nvPr/>
          </p:nvSpPr>
          <p:spPr>
            <a:xfrm>
              <a:off x="8251701" y="4193647"/>
              <a:ext cx="19050" cy="114300"/>
            </a:xfrm>
            <a:custGeom>
              <a:avLst/>
              <a:gdLst>
                <a:gd name="connsiteX0" fmla="*/ 14240 w 19050"/>
                <a:gd name="connsiteY0" fmla="*/ 121655 h 114300"/>
                <a:gd name="connsiteX1" fmla="*/ 28477 w 19050"/>
                <a:gd name="connsiteY1" fmla="*/ 107418 h 114300"/>
                <a:gd name="connsiteX2" fmla="*/ 28477 w 19050"/>
                <a:gd name="connsiteY2" fmla="*/ 42405 h 114300"/>
                <a:gd name="connsiteX3" fmla="*/ 28463 w 19050"/>
                <a:gd name="connsiteY3" fmla="*/ 42340 h 114300"/>
                <a:gd name="connsiteX4" fmla="*/ 28477 w 19050"/>
                <a:gd name="connsiteY4" fmla="*/ 42274 h 114300"/>
                <a:gd name="connsiteX5" fmla="*/ 28477 w 19050"/>
                <a:gd name="connsiteY5" fmla="*/ 14243 h 114300"/>
                <a:gd name="connsiteX6" fmla="*/ 14240 w 19050"/>
                <a:gd name="connsiteY6" fmla="*/ 0 h 114300"/>
                <a:gd name="connsiteX7" fmla="*/ 0 w 19050"/>
                <a:gd name="connsiteY7" fmla="*/ 14243 h 114300"/>
                <a:gd name="connsiteX8" fmla="*/ 0 w 19050"/>
                <a:gd name="connsiteY8" fmla="*/ 107418 h 114300"/>
                <a:gd name="connsiteX9" fmla="*/ 14240 w 19050"/>
                <a:gd name="connsiteY9" fmla="*/ 121655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9050" h="114300">
                  <a:moveTo>
                    <a:pt x="14240" y="121655"/>
                  </a:moveTo>
                  <a:cubicBezTo>
                    <a:pt x="22090" y="121655"/>
                    <a:pt x="28477" y="115271"/>
                    <a:pt x="28477" y="107418"/>
                  </a:cubicBezTo>
                  <a:lnTo>
                    <a:pt x="28477" y="42405"/>
                  </a:lnTo>
                  <a:cubicBezTo>
                    <a:pt x="28476" y="42382"/>
                    <a:pt x="28463" y="42363"/>
                    <a:pt x="28463" y="42340"/>
                  </a:cubicBezTo>
                  <a:cubicBezTo>
                    <a:pt x="28463" y="42316"/>
                    <a:pt x="28476" y="42297"/>
                    <a:pt x="28477" y="42274"/>
                  </a:cubicBezTo>
                  <a:lnTo>
                    <a:pt x="28477" y="14243"/>
                  </a:lnTo>
                  <a:cubicBezTo>
                    <a:pt x="28477" y="6390"/>
                    <a:pt x="22090" y="0"/>
                    <a:pt x="14240" y="0"/>
                  </a:cubicBezTo>
                  <a:cubicBezTo>
                    <a:pt x="6386" y="0"/>
                    <a:pt x="0" y="6390"/>
                    <a:pt x="0" y="14243"/>
                  </a:cubicBezTo>
                  <a:lnTo>
                    <a:pt x="0" y="107418"/>
                  </a:lnTo>
                  <a:cubicBezTo>
                    <a:pt x="0" y="115271"/>
                    <a:pt x="6386" y="121655"/>
                    <a:pt x="14240" y="121655"/>
                  </a:cubicBezTo>
                  <a:close/>
                </a:path>
              </a:pathLst>
            </a:custGeom>
            <a:solidFill>
              <a:schemeClr val="accent2"/>
            </a:solidFill>
            <a:ln w="65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id="{03F098B4-19BD-40AD-B27E-59F38CB2EA3F}"/>
                </a:ext>
              </a:extLst>
            </p:cNvPr>
            <p:cNvSpPr/>
            <p:nvPr/>
          </p:nvSpPr>
          <p:spPr>
            <a:xfrm>
              <a:off x="8629115" y="4193647"/>
              <a:ext cx="19050" cy="114300"/>
            </a:xfrm>
            <a:custGeom>
              <a:avLst/>
              <a:gdLst>
                <a:gd name="connsiteX0" fmla="*/ 14237 w 19050"/>
                <a:gd name="connsiteY0" fmla="*/ 121655 h 114300"/>
                <a:gd name="connsiteX1" fmla="*/ 28477 w 19050"/>
                <a:gd name="connsiteY1" fmla="*/ 107418 h 114300"/>
                <a:gd name="connsiteX2" fmla="*/ 28477 w 19050"/>
                <a:gd name="connsiteY2" fmla="*/ 42421 h 114300"/>
                <a:gd name="connsiteX3" fmla="*/ 28460 w 19050"/>
                <a:gd name="connsiteY3" fmla="*/ 42340 h 114300"/>
                <a:gd name="connsiteX4" fmla="*/ 28477 w 19050"/>
                <a:gd name="connsiteY4" fmla="*/ 42258 h 114300"/>
                <a:gd name="connsiteX5" fmla="*/ 28477 w 19050"/>
                <a:gd name="connsiteY5" fmla="*/ 14243 h 114300"/>
                <a:gd name="connsiteX6" fmla="*/ 14237 w 19050"/>
                <a:gd name="connsiteY6" fmla="*/ 0 h 114300"/>
                <a:gd name="connsiteX7" fmla="*/ 0 w 19050"/>
                <a:gd name="connsiteY7" fmla="*/ 14243 h 114300"/>
                <a:gd name="connsiteX8" fmla="*/ 0 w 19050"/>
                <a:gd name="connsiteY8" fmla="*/ 107418 h 114300"/>
                <a:gd name="connsiteX9" fmla="*/ 14237 w 19050"/>
                <a:gd name="connsiteY9" fmla="*/ 121655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9050" h="114300">
                  <a:moveTo>
                    <a:pt x="14237" y="121655"/>
                  </a:moveTo>
                  <a:cubicBezTo>
                    <a:pt x="22091" y="121655"/>
                    <a:pt x="28477" y="115271"/>
                    <a:pt x="28477" y="107418"/>
                  </a:cubicBezTo>
                  <a:lnTo>
                    <a:pt x="28477" y="42421"/>
                  </a:lnTo>
                  <a:cubicBezTo>
                    <a:pt x="28477" y="42392"/>
                    <a:pt x="28460" y="42369"/>
                    <a:pt x="28460" y="42340"/>
                  </a:cubicBezTo>
                  <a:cubicBezTo>
                    <a:pt x="28460" y="42311"/>
                    <a:pt x="28477" y="42287"/>
                    <a:pt x="28477" y="42258"/>
                  </a:cubicBezTo>
                  <a:lnTo>
                    <a:pt x="28477" y="14243"/>
                  </a:lnTo>
                  <a:cubicBezTo>
                    <a:pt x="28477" y="6390"/>
                    <a:pt x="22091" y="0"/>
                    <a:pt x="14237" y="0"/>
                  </a:cubicBezTo>
                  <a:cubicBezTo>
                    <a:pt x="6387" y="0"/>
                    <a:pt x="0" y="6390"/>
                    <a:pt x="0" y="14243"/>
                  </a:cubicBezTo>
                  <a:lnTo>
                    <a:pt x="0" y="107418"/>
                  </a:lnTo>
                  <a:cubicBezTo>
                    <a:pt x="0" y="115271"/>
                    <a:pt x="6387" y="121655"/>
                    <a:pt x="14237" y="121655"/>
                  </a:cubicBezTo>
                  <a:close/>
                </a:path>
              </a:pathLst>
            </a:custGeom>
            <a:solidFill>
              <a:schemeClr val="accent2"/>
            </a:solidFill>
            <a:ln w="65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5" name="Freeform: Shape 34">
              <a:extLst>
                <a:ext uri="{FF2B5EF4-FFF2-40B4-BE49-F238E27FC236}">
                  <a16:creationId xmlns:a16="http://schemas.microsoft.com/office/drawing/2014/main" id="{7BB15BB9-4E62-4708-A508-3757EEEFF5D2}"/>
                </a:ext>
              </a:extLst>
            </p:cNvPr>
            <p:cNvSpPr/>
            <p:nvPr/>
          </p:nvSpPr>
          <p:spPr>
            <a:xfrm>
              <a:off x="8121835" y="4417098"/>
              <a:ext cx="847725" cy="628650"/>
            </a:xfrm>
            <a:custGeom>
              <a:avLst/>
              <a:gdLst>
                <a:gd name="connsiteX0" fmla="*/ 0 w 847725"/>
                <a:gd name="connsiteY0" fmla="*/ 602871 h 628650"/>
                <a:gd name="connsiteX1" fmla="*/ 28073 w 847725"/>
                <a:gd name="connsiteY1" fmla="*/ 630941 h 628650"/>
                <a:gd name="connsiteX2" fmla="*/ 826296 w 847725"/>
                <a:gd name="connsiteY2" fmla="*/ 630941 h 628650"/>
                <a:gd name="connsiteX3" fmla="*/ 854366 w 847725"/>
                <a:gd name="connsiteY3" fmla="*/ 602871 h 628650"/>
                <a:gd name="connsiteX4" fmla="*/ 854366 w 847725"/>
                <a:gd name="connsiteY4" fmla="*/ 0 h 628650"/>
                <a:gd name="connsiteX5" fmla="*/ 0 w 847725"/>
                <a:gd name="connsiteY5" fmla="*/ 0 h 628650"/>
                <a:gd name="connsiteX6" fmla="*/ 0 w 847725"/>
                <a:gd name="connsiteY6" fmla="*/ 602871 h 628650"/>
                <a:gd name="connsiteX7" fmla="*/ 569167 w 847725"/>
                <a:gd name="connsiteY7" fmla="*/ 191812 h 628650"/>
                <a:gd name="connsiteX8" fmla="*/ 574643 w 847725"/>
                <a:gd name="connsiteY8" fmla="*/ 187197 h 628650"/>
                <a:gd name="connsiteX9" fmla="*/ 612688 w 847725"/>
                <a:gd name="connsiteY9" fmla="*/ 181668 h 628650"/>
                <a:gd name="connsiteX10" fmla="*/ 629700 w 847725"/>
                <a:gd name="connsiteY10" fmla="*/ 147189 h 628650"/>
                <a:gd name="connsiteX11" fmla="*/ 641866 w 847725"/>
                <a:gd name="connsiteY11" fmla="*/ 147189 h 628650"/>
                <a:gd name="connsiteX12" fmla="*/ 658881 w 847725"/>
                <a:gd name="connsiteY12" fmla="*/ 181668 h 628650"/>
                <a:gd name="connsiteX13" fmla="*/ 696921 w 847725"/>
                <a:gd name="connsiteY13" fmla="*/ 187197 h 628650"/>
                <a:gd name="connsiteX14" fmla="*/ 702403 w 847725"/>
                <a:gd name="connsiteY14" fmla="*/ 191812 h 628650"/>
                <a:gd name="connsiteX15" fmla="*/ 700681 w 847725"/>
                <a:gd name="connsiteY15" fmla="*/ 198759 h 628650"/>
                <a:gd name="connsiteX16" fmla="*/ 673149 w 847725"/>
                <a:gd name="connsiteY16" fmla="*/ 225597 h 628650"/>
                <a:gd name="connsiteX17" fmla="*/ 679649 w 847725"/>
                <a:gd name="connsiteY17" fmla="*/ 263493 h 628650"/>
                <a:gd name="connsiteX18" fmla="*/ 676955 w 847725"/>
                <a:gd name="connsiteY18" fmla="*/ 270121 h 628650"/>
                <a:gd name="connsiteX19" fmla="*/ 672965 w 847725"/>
                <a:gd name="connsiteY19" fmla="*/ 271419 h 628650"/>
                <a:gd name="connsiteX20" fmla="*/ 669811 w 847725"/>
                <a:gd name="connsiteY20" fmla="*/ 270638 h 628650"/>
                <a:gd name="connsiteX21" fmla="*/ 635780 w 847725"/>
                <a:gd name="connsiteY21" fmla="*/ 252746 h 628650"/>
                <a:gd name="connsiteX22" fmla="*/ 601752 w 847725"/>
                <a:gd name="connsiteY22" fmla="*/ 270638 h 628650"/>
                <a:gd name="connsiteX23" fmla="*/ 594611 w 847725"/>
                <a:gd name="connsiteY23" fmla="*/ 270121 h 628650"/>
                <a:gd name="connsiteX24" fmla="*/ 591913 w 847725"/>
                <a:gd name="connsiteY24" fmla="*/ 263493 h 628650"/>
                <a:gd name="connsiteX25" fmla="*/ 598412 w 847725"/>
                <a:gd name="connsiteY25" fmla="*/ 225597 h 628650"/>
                <a:gd name="connsiteX26" fmla="*/ 570885 w 847725"/>
                <a:gd name="connsiteY26" fmla="*/ 198759 h 628650"/>
                <a:gd name="connsiteX27" fmla="*/ 569167 w 847725"/>
                <a:gd name="connsiteY27" fmla="*/ 191812 h 628650"/>
                <a:gd name="connsiteX28" fmla="*/ 324463 w 847725"/>
                <a:gd name="connsiteY28" fmla="*/ 108696 h 628650"/>
                <a:gd name="connsiteX29" fmla="*/ 329939 w 847725"/>
                <a:gd name="connsiteY29" fmla="*/ 104081 h 628650"/>
                <a:gd name="connsiteX30" fmla="*/ 392932 w 847725"/>
                <a:gd name="connsiteY30" fmla="*/ 94930 h 628650"/>
                <a:gd name="connsiteX31" fmla="*/ 421101 w 847725"/>
                <a:gd name="connsiteY31" fmla="*/ 37850 h 628650"/>
                <a:gd name="connsiteX32" fmla="*/ 433265 w 847725"/>
                <a:gd name="connsiteY32" fmla="*/ 37850 h 628650"/>
                <a:gd name="connsiteX33" fmla="*/ 461434 w 847725"/>
                <a:gd name="connsiteY33" fmla="*/ 94930 h 628650"/>
                <a:gd name="connsiteX34" fmla="*/ 524423 w 847725"/>
                <a:gd name="connsiteY34" fmla="*/ 104081 h 628650"/>
                <a:gd name="connsiteX35" fmla="*/ 529900 w 847725"/>
                <a:gd name="connsiteY35" fmla="*/ 108696 h 628650"/>
                <a:gd name="connsiteX36" fmla="*/ 528185 w 847725"/>
                <a:gd name="connsiteY36" fmla="*/ 115643 h 628650"/>
                <a:gd name="connsiteX37" fmla="*/ 482604 w 847725"/>
                <a:gd name="connsiteY37" fmla="*/ 160074 h 628650"/>
                <a:gd name="connsiteX38" fmla="*/ 493364 w 847725"/>
                <a:gd name="connsiteY38" fmla="*/ 222816 h 628650"/>
                <a:gd name="connsiteX39" fmla="*/ 490666 w 847725"/>
                <a:gd name="connsiteY39" fmla="*/ 229444 h 628650"/>
                <a:gd name="connsiteX40" fmla="*/ 486680 w 847725"/>
                <a:gd name="connsiteY40" fmla="*/ 230742 h 628650"/>
                <a:gd name="connsiteX41" fmla="*/ 483524 w 847725"/>
                <a:gd name="connsiteY41" fmla="*/ 229960 h 628650"/>
                <a:gd name="connsiteX42" fmla="*/ 427183 w 847725"/>
                <a:gd name="connsiteY42" fmla="*/ 200341 h 628650"/>
                <a:gd name="connsiteX43" fmla="*/ 370842 w 847725"/>
                <a:gd name="connsiteY43" fmla="*/ 229960 h 628650"/>
                <a:gd name="connsiteX44" fmla="*/ 363700 w 847725"/>
                <a:gd name="connsiteY44" fmla="*/ 229444 h 628650"/>
                <a:gd name="connsiteX45" fmla="*/ 361002 w 847725"/>
                <a:gd name="connsiteY45" fmla="*/ 222816 h 628650"/>
                <a:gd name="connsiteX46" fmla="*/ 371762 w 847725"/>
                <a:gd name="connsiteY46" fmla="*/ 160081 h 628650"/>
                <a:gd name="connsiteX47" fmla="*/ 326178 w 847725"/>
                <a:gd name="connsiteY47" fmla="*/ 115643 h 628650"/>
                <a:gd name="connsiteX48" fmla="*/ 324463 w 847725"/>
                <a:gd name="connsiteY48" fmla="*/ 108696 h 628650"/>
                <a:gd name="connsiteX49" fmla="*/ 151966 w 847725"/>
                <a:gd name="connsiteY49" fmla="*/ 191812 h 628650"/>
                <a:gd name="connsiteX50" fmla="*/ 157442 w 847725"/>
                <a:gd name="connsiteY50" fmla="*/ 187197 h 628650"/>
                <a:gd name="connsiteX51" fmla="*/ 195488 w 847725"/>
                <a:gd name="connsiteY51" fmla="*/ 181668 h 628650"/>
                <a:gd name="connsiteX52" fmla="*/ 212499 w 847725"/>
                <a:gd name="connsiteY52" fmla="*/ 147189 h 628650"/>
                <a:gd name="connsiteX53" fmla="*/ 224663 w 847725"/>
                <a:gd name="connsiteY53" fmla="*/ 147189 h 628650"/>
                <a:gd name="connsiteX54" fmla="*/ 241678 w 847725"/>
                <a:gd name="connsiteY54" fmla="*/ 181668 h 628650"/>
                <a:gd name="connsiteX55" fmla="*/ 279723 w 847725"/>
                <a:gd name="connsiteY55" fmla="*/ 187197 h 628650"/>
                <a:gd name="connsiteX56" fmla="*/ 285199 w 847725"/>
                <a:gd name="connsiteY56" fmla="*/ 191812 h 628650"/>
                <a:gd name="connsiteX57" fmla="*/ 283481 w 847725"/>
                <a:gd name="connsiteY57" fmla="*/ 198759 h 628650"/>
                <a:gd name="connsiteX58" fmla="*/ 255951 w 847725"/>
                <a:gd name="connsiteY58" fmla="*/ 225597 h 628650"/>
                <a:gd name="connsiteX59" fmla="*/ 262450 w 847725"/>
                <a:gd name="connsiteY59" fmla="*/ 263493 h 628650"/>
                <a:gd name="connsiteX60" fmla="*/ 259752 w 847725"/>
                <a:gd name="connsiteY60" fmla="*/ 270121 h 628650"/>
                <a:gd name="connsiteX61" fmla="*/ 255766 w 847725"/>
                <a:gd name="connsiteY61" fmla="*/ 271419 h 628650"/>
                <a:gd name="connsiteX62" fmla="*/ 252610 w 847725"/>
                <a:gd name="connsiteY62" fmla="*/ 270638 h 628650"/>
                <a:gd name="connsiteX63" fmla="*/ 218581 w 847725"/>
                <a:gd name="connsiteY63" fmla="*/ 252746 h 628650"/>
                <a:gd name="connsiteX64" fmla="*/ 184552 w 847725"/>
                <a:gd name="connsiteY64" fmla="*/ 270638 h 628650"/>
                <a:gd name="connsiteX65" fmla="*/ 177410 w 847725"/>
                <a:gd name="connsiteY65" fmla="*/ 270121 h 628650"/>
                <a:gd name="connsiteX66" fmla="*/ 174712 w 847725"/>
                <a:gd name="connsiteY66" fmla="*/ 263493 h 628650"/>
                <a:gd name="connsiteX67" fmla="*/ 181211 w 847725"/>
                <a:gd name="connsiteY67" fmla="*/ 225597 h 628650"/>
                <a:gd name="connsiteX68" fmla="*/ 153685 w 847725"/>
                <a:gd name="connsiteY68" fmla="*/ 198759 h 628650"/>
                <a:gd name="connsiteX69" fmla="*/ 151966 w 847725"/>
                <a:gd name="connsiteY69" fmla="*/ 191812 h 628650"/>
                <a:gd name="connsiteX70" fmla="*/ 58175 w 847725"/>
                <a:gd name="connsiteY70" fmla="*/ 315772 h 628650"/>
                <a:gd name="connsiteX71" fmla="*/ 796189 w 847725"/>
                <a:gd name="connsiteY71" fmla="*/ 315772 h 628650"/>
                <a:gd name="connsiteX72" fmla="*/ 802971 w 847725"/>
                <a:gd name="connsiteY72" fmla="*/ 322553 h 628650"/>
                <a:gd name="connsiteX73" fmla="*/ 796189 w 847725"/>
                <a:gd name="connsiteY73" fmla="*/ 329334 h 628650"/>
                <a:gd name="connsiteX74" fmla="*/ 58175 w 847725"/>
                <a:gd name="connsiteY74" fmla="*/ 329334 h 628650"/>
                <a:gd name="connsiteX75" fmla="*/ 51395 w 847725"/>
                <a:gd name="connsiteY75" fmla="*/ 322553 h 628650"/>
                <a:gd name="connsiteX76" fmla="*/ 58175 w 847725"/>
                <a:gd name="connsiteY76" fmla="*/ 315772 h 628650"/>
                <a:gd name="connsiteX77" fmla="*/ 58175 w 847725"/>
                <a:gd name="connsiteY77" fmla="*/ 395445 h 628650"/>
                <a:gd name="connsiteX78" fmla="*/ 796189 w 847725"/>
                <a:gd name="connsiteY78" fmla="*/ 395445 h 628650"/>
                <a:gd name="connsiteX79" fmla="*/ 802971 w 847725"/>
                <a:gd name="connsiteY79" fmla="*/ 402227 h 628650"/>
                <a:gd name="connsiteX80" fmla="*/ 796189 w 847725"/>
                <a:gd name="connsiteY80" fmla="*/ 409010 h 628650"/>
                <a:gd name="connsiteX81" fmla="*/ 58175 w 847725"/>
                <a:gd name="connsiteY81" fmla="*/ 409010 h 628650"/>
                <a:gd name="connsiteX82" fmla="*/ 51395 w 847725"/>
                <a:gd name="connsiteY82" fmla="*/ 402227 h 628650"/>
                <a:gd name="connsiteX83" fmla="*/ 58175 w 847725"/>
                <a:gd name="connsiteY83" fmla="*/ 395445 h 628650"/>
                <a:gd name="connsiteX84" fmla="*/ 58175 w 847725"/>
                <a:gd name="connsiteY84" fmla="*/ 475120 h 628650"/>
                <a:gd name="connsiteX85" fmla="*/ 796189 w 847725"/>
                <a:gd name="connsiteY85" fmla="*/ 475120 h 628650"/>
                <a:gd name="connsiteX86" fmla="*/ 802971 w 847725"/>
                <a:gd name="connsiteY86" fmla="*/ 481896 h 628650"/>
                <a:gd name="connsiteX87" fmla="*/ 796189 w 847725"/>
                <a:gd name="connsiteY87" fmla="*/ 488678 h 628650"/>
                <a:gd name="connsiteX88" fmla="*/ 58175 w 847725"/>
                <a:gd name="connsiteY88" fmla="*/ 488678 h 628650"/>
                <a:gd name="connsiteX89" fmla="*/ 51395 w 847725"/>
                <a:gd name="connsiteY89" fmla="*/ 481896 h 628650"/>
                <a:gd name="connsiteX90" fmla="*/ 58175 w 847725"/>
                <a:gd name="connsiteY90" fmla="*/ 475120 h 628650"/>
                <a:gd name="connsiteX91" fmla="*/ 58175 w 847725"/>
                <a:gd name="connsiteY91" fmla="*/ 554789 h 628650"/>
                <a:gd name="connsiteX92" fmla="*/ 796189 w 847725"/>
                <a:gd name="connsiteY92" fmla="*/ 554789 h 628650"/>
                <a:gd name="connsiteX93" fmla="*/ 802971 w 847725"/>
                <a:gd name="connsiteY93" fmla="*/ 561571 h 628650"/>
                <a:gd name="connsiteX94" fmla="*/ 796189 w 847725"/>
                <a:gd name="connsiteY94" fmla="*/ 568354 h 628650"/>
                <a:gd name="connsiteX95" fmla="*/ 58175 w 847725"/>
                <a:gd name="connsiteY95" fmla="*/ 568354 h 628650"/>
                <a:gd name="connsiteX96" fmla="*/ 51395 w 847725"/>
                <a:gd name="connsiteY96" fmla="*/ 561571 h 628650"/>
                <a:gd name="connsiteX97" fmla="*/ 58175 w 847725"/>
                <a:gd name="connsiteY97" fmla="*/ 554789 h 6286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</a:cxnLst>
              <a:rect l="l" t="t" r="r" b="b"/>
              <a:pathLst>
                <a:path w="847725" h="628650">
                  <a:moveTo>
                    <a:pt x="0" y="602871"/>
                  </a:moveTo>
                  <a:cubicBezTo>
                    <a:pt x="0" y="618349"/>
                    <a:pt x="12595" y="630941"/>
                    <a:pt x="28073" y="630941"/>
                  </a:cubicBezTo>
                  <a:lnTo>
                    <a:pt x="826296" y="630941"/>
                  </a:lnTo>
                  <a:cubicBezTo>
                    <a:pt x="841774" y="630941"/>
                    <a:pt x="854366" y="618349"/>
                    <a:pt x="854366" y="602871"/>
                  </a:cubicBezTo>
                  <a:lnTo>
                    <a:pt x="854366" y="0"/>
                  </a:lnTo>
                  <a:lnTo>
                    <a:pt x="0" y="0"/>
                  </a:lnTo>
                  <a:lnTo>
                    <a:pt x="0" y="602871"/>
                  </a:lnTo>
                  <a:close/>
                  <a:moveTo>
                    <a:pt x="569167" y="191812"/>
                  </a:moveTo>
                  <a:cubicBezTo>
                    <a:pt x="569964" y="189356"/>
                    <a:pt x="572087" y="187568"/>
                    <a:pt x="574643" y="187197"/>
                  </a:cubicBezTo>
                  <a:lnTo>
                    <a:pt x="612688" y="181668"/>
                  </a:lnTo>
                  <a:lnTo>
                    <a:pt x="629700" y="147189"/>
                  </a:lnTo>
                  <a:cubicBezTo>
                    <a:pt x="631981" y="142553"/>
                    <a:pt x="639578" y="142553"/>
                    <a:pt x="641866" y="147189"/>
                  </a:cubicBezTo>
                  <a:lnTo>
                    <a:pt x="658881" y="181668"/>
                  </a:lnTo>
                  <a:lnTo>
                    <a:pt x="696921" y="187197"/>
                  </a:lnTo>
                  <a:cubicBezTo>
                    <a:pt x="699478" y="187568"/>
                    <a:pt x="701601" y="189356"/>
                    <a:pt x="702403" y="191812"/>
                  </a:cubicBezTo>
                  <a:cubicBezTo>
                    <a:pt x="703198" y="194263"/>
                    <a:pt x="702534" y="196958"/>
                    <a:pt x="700681" y="198759"/>
                  </a:cubicBezTo>
                  <a:lnTo>
                    <a:pt x="673149" y="225597"/>
                  </a:lnTo>
                  <a:lnTo>
                    <a:pt x="679649" y="263493"/>
                  </a:lnTo>
                  <a:cubicBezTo>
                    <a:pt x="680083" y="266036"/>
                    <a:pt x="679038" y="268605"/>
                    <a:pt x="676955" y="270121"/>
                  </a:cubicBezTo>
                  <a:cubicBezTo>
                    <a:pt x="675772" y="270982"/>
                    <a:pt x="674372" y="271419"/>
                    <a:pt x="672965" y="271419"/>
                  </a:cubicBezTo>
                  <a:cubicBezTo>
                    <a:pt x="671888" y="271419"/>
                    <a:pt x="670803" y="271161"/>
                    <a:pt x="669811" y="270638"/>
                  </a:cubicBezTo>
                  <a:lnTo>
                    <a:pt x="635780" y="252746"/>
                  </a:lnTo>
                  <a:lnTo>
                    <a:pt x="601752" y="270638"/>
                  </a:lnTo>
                  <a:cubicBezTo>
                    <a:pt x="599481" y="271843"/>
                    <a:pt x="596704" y="271644"/>
                    <a:pt x="594611" y="270121"/>
                  </a:cubicBezTo>
                  <a:cubicBezTo>
                    <a:pt x="592525" y="268605"/>
                    <a:pt x="591479" y="266036"/>
                    <a:pt x="591913" y="263493"/>
                  </a:cubicBezTo>
                  <a:lnTo>
                    <a:pt x="598412" y="225597"/>
                  </a:lnTo>
                  <a:lnTo>
                    <a:pt x="570885" y="198759"/>
                  </a:lnTo>
                  <a:cubicBezTo>
                    <a:pt x="569034" y="196958"/>
                    <a:pt x="568369" y="194263"/>
                    <a:pt x="569167" y="191812"/>
                  </a:cubicBezTo>
                  <a:close/>
                  <a:moveTo>
                    <a:pt x="324463" y="108696"/>
                  </a:moveTo>
                  <a:cubicBezTo>
                    <a:pt x="325261" y="106240"/>
                    <a:pt x="327383" y="104451"/>
                    <a:pt x="329939" y="104081"/>
                  </a:cubicBezTo>
                  <a:lnTo>
                    <a:pt x="392932" y="94930"/>
                  </a:lnTo>
                  <a:lnTo>
                    <a:pt x="421101" y="37850"/>
                  </a:lnTo>
                  <a:cubicBezTo>
                    <a:pt x="423386" y="33215"/>
                    <a:pt x="430980" y="33215"/>
                    <a:pt x="433265" y="37850"/>
                  </a:cubicBezTo>
                  <a:lnTo>
                    <a:pt x="461434" y="94930"/>
                  </a:lnTo>
                  <a:lnTo>
                    <a:pt x="524423" y="104081"/>
                  </a:lnTo>
                  <a:cubicBezTo>
                    <a:pt x="526979" y="104451"/>
                    <a:pt x="529102" y="106240"/>
                    <a:pt x="529900" y="108696"/>
                  </a:cubicBezTo>
                  <a:cubicBezTo>
                    <a:pt x="530698" y="111147"/>
                    <a:pt x="530032" y="113841"/>
                    <a:pt x="528185" y="115643"/>
                  </a:cubicBezTo>
                  <a:lnTo>
                    <a:pt x="482604" y="160074"/>
                  </a:lnTo>
                  <a:lnTo>
                    <a:pt x="493364" y="222816"/>
                  </a:lnTo>
                  <a:cubicBezTo>
                    <a:pt x="493798" y="225359"/>
                    <a:pt x="492752" y="227928"/>
                    <a:pt x="490666" y="229444"/>
                  </a:cubicBezTo>
                  <a:cubicBezTo>
                    <a:pt x="489484" y="230305"/>
                    <a:pt x="488083" y="230742"/>
                    <a:pt x="486680" y="230742"/>
                  </a:cubicBezTo>
                  <a:cubicBezTo>
                    <a:pt x="485600" y="230742"/>
                    <a:pt x="484517" y="230484"/>
                    <a:pt x="483524" y="229960"/>
                  </a:cubicBezTo>
                  <a:lnTo>
                    <a:pt x="427183" y="200341"/>
                  </a:lnTo>
                  <a:lnTo>
                    <a:pt x="370842" y="229960"/>
                  </a:lnTo>
                  <a:cubicBezTo>
                    <a:pt x="368564" y="231172"/>
                    <a:pt x="365793" y="230974"/>
                    <a:pt x="363700" y="229444"/>
                  </a:cubicBezTo>
                  <a:cubicBezTo>
                    <a:pt x="361614" y="227928"/>
                    <a:pt x="360568" y="225359"/>
                    <a:pt x="361002" y="222816"/>
                  </a:cubicBezTo>
                  <a:lnTo>
                    <a:pt x="371762" y="160081"/>
                  </a:lnTo>
                  <a:lnTo>
                    <a:pt x="326178" y="115643"/>
                  </a:lnTo>
                  <a:cubicBezTo>
                    <a:pt x="324331" y="113841"/>
                    <a:pt x="323665" y="111147"/>
                    <a:pt x="324463" y="108696"/>
                  </a:cubicBezTo>
                  <a:close/>
                  <a:moveTo>
                    <a:pt x="151966" y="191812"/>
                  </a:moveTo>
                  <a:cubicBezTo>
                    <a:pt x="152764" y="189356"/>
                    <a:pt x="154886" y="187568"/>
                    <a:pt x="157442" y="187197"/>
                  </a:cubicBezTo>
                  <a:lnTo>
                    <a:pt x="195488" y="181668"/>
                  </a:lnTo>
                  <a:lnTo>
                    <a:pt x="212499" y="147189"/>
                  </a:lnTo>
                  <a:cubicBezTo>
                    <a:pt x="214784" y="142553"/>
                    <a:pt x="222379" y="142553"/>
                    <a:pt x="224663" y="147189"/>
                  </a:cubicBezTo>
                  <a:lnTo>
                    <a:pt x="241678" y="181668"/>
                  </a:lnTo>
                  <a:lnTo>
                    <a:pt x="279723" y="187197"/>
                  </a:lnTo>
                  <a:cubicBezTo>
                    <a:pt x="282279" y="187568"/>
                    <a:pt x="284402" y="189356"/>
                    <a:pt x="285199" y="191812"/>
                  </a:cubicBezTo>
                  <a:cubicBezTo>
                    <a:pt x="285997" y="194263"/>
                    <a:pt x="285331" y="196958"/>
                    <a:pt x="283481" y="198759"/>
                  </a:cubicBezTo>
                  <a:lnTo>
                    <a:pt x="255951" y="225597"/>
                  </a:lnTo>
                  <a:lnTo>
                    <a:pt x="262450" y="263493"/>
                  </a:lnTo>
                  <a:cubicBezTo>
                    <a:pt x="262884" y="266036"/>
                    <a:pt x="261838" y="268605"/>
                    <a:pt x="259752" y="270121"/>
                  </a:cubicBezTo>
                  <a:cubicBezTo>
                    <a:pt x="258570" y="270982"/>
                    <a:pt x="257169" y="271419"/>
                    <a:pt x="255766" y="271419"/>
                  </a:cubicBezTo>
                  <a:cubicBezTo>
                    <a:pt x="254686" y="271419"/>
                    <a:pt x="253603" y="271161"/>
                    <a:pt x="252610" y="270638"/>
                  </a:cubicBezTo>
                  <a:lnTo>
                    <a:pt x="218581" y="252746"/>
                  </a:lnTo>
                  <a:lnTo>
                    <a:pt x="184552" y="270638"/>
                  </a:lnTo>
                  <a:cubicBezTo>
                    <a:pt x="182281" y="271843"/>
                    <a:pt x="179509" y="271644"/>
                    <a:pt x="177410" y="270121"/>
                  </a:cubicBezTo>
                  <a:cubicBezTo>
                    <a:pt x="175324" y="268605"/>
                    <a:pt x="174278" y="266036"/>
                    <a:pt x="174712" y="263493"/>
                  </a:cubicBezTo>
                  <a:lnTo>
                    <a:pt x="181211" y="225597"/>
                  </a:lnTo>
                  <a:lnTo>
                    <a:pt x="153685" y="198759"/>
                  </a:lnTo>
                  <a:cubicBezTo>
                    <a:pt x="151833" y="196958"/>
                    <a:pt x="151168" y="194263"/>
                    <a:pt x="151966" y="191812"/>
                  </a:cubicBezTo>
                  <a:close/>
                  <a:moveTo>
                    <a:pt x="58175" y="315772"/>
                  </a:moveTo>
                  <a:lnTo>
                    <a:pt x="796189" y="315772"/>
                  </a:lnTo>
                  <a:cubicBezTo>
                    <a:pt x="799935" y="315772"/>
                    <a:pt x="802971" y="318805"/>
                    <a:pt x="802971" y="322553"/>
                  </a:cubicBezTo>
                  <a:cubicBezTo>
                    <a:pt x="802971" y="326300"/>
                    <a:pt x="799935" y="329334"/>
                    <a:pt x="796189" y="329334"/>
                  </a:cubicBezTo>
                  <a:lnTo>
                    <a:pt x="58175" y="329334"/>
                  </a:lnTo>
                  <a:cubicBezTo>
                    <a:pt x="54431" y="329334"/>
                    <a:pt x="51395" y="326300"/>
                    <a:pt x="51395" y="322553"/>
                  </a:cubicBezTo>
                  <a:cubicBezTo>
                    <a:pt x="51395" y="318805"/>
                    <a:pt x="54431" y="315772"/>
                    <a:pt x="58175" y="315772"/>
                  </a:cubicBezTo>
                  <a:close/>
                  <a:moveTo>
                    <a:pt x="58175" y="395445"/>
                  </a:moveTo>
                  <a:lnTo>
                    <a:pt x="796189" y="395445"/>
                  </a:lnTo>
                  <a:cubicBezTo>
                    <a:pt x="799935" y="395445"/>
                    <a:pt x="802971" y="398478"/>
                    <a:pt x="802971" y="402227"/>
                  </a:cubicBezTo>
                  <a:cubicBezTo>
                    <a:pt x="802971" y="405973"/>
                    <a:pt x="799935" y="409010"/>
                    <a:pt x="796189" y="409010"/>
                  </a:cubicBezTo>
                  <a:lnTo>
                    <a:pt x="58175" y="409010"/>
                  </a:lnTo>
                  <a:cubicBezTo>
                    <a:pt x="54431" y="409010"/>
                    <a:pt x="51395" y="405973"/>
                    <a:pt x="51395" y="402227"/>
                  </a:cubicBezTo>
                  <a:cubicBezTo>
                    <a:pt x="51395" y="398478"/>
                    <a:pt x="54431" y="395445"/>
                    <a:pt x="58175" y="395445"/>
                  </a:cubicBezTo>
                  <a:close/>
                  <a:moveTo>
                    <a:pt x="58175" y="475120"/>
                  </a:moveTo>
                  <a:lnTo>
                    <a:pt x="796189" y="475120"/>
                  </a:lnTo>
                  <a:cubicBezTo>
                    <a:pt x="799935" y="475120"/>
                    <a:pt x="802971" y="478150"/>
                    <a:pt x="802971" y="481896"/>
                  </a:cubicBezTo>
                  <a:cubicBezTo>
                    <a:pt x="802971" y="485649"/>
                    <a:pt x="799935" y="488678"/>
                    <a:pt x="796189" y="488678"/>
                  </a:cubicBezTo>
                  <a:lnTo>
                    <a:pt x="58175" y="488678"/>
                  </a:lnTo>
                  <a:cubicBezTo>
                    <a:pt x="54431" y="488678"/>
                    <a:pt x="51395" y="485649"/>
                    <a:pt x="51395" y="481896"/>
                  </a:cubicBezTo>
                  <a:cubicBezTo>
                    <a:pt x="51395" y="478150"/>
                    <a:pt x="54431" y="475120"/>
                    <a:pt x="58175" y="475120"/>
                  </a:cubicBezTo>
                  <a:close/>
                  <a:moveTo>
                    <a:pt x="58175" y="554789"/>
                  </a:moveTo>
                  <a:lnTo>
                    <a:pt x="796189" y="554789"/>
                  </a:lnTo>
                  <a:cubicBezTo>
                    <a:pt x="799935" y="554789"/>
                    <a:pt x="802971" y="557825"/>
                    <a:pt x="802971" y="561571"/>
                  </a:cubicBezTo>
                  <a:cubicBezTo>
                    <a:pt x="802971" y="565317"/>
                    <a:pt x="799935" y="568354"/>
                    <a:pt x="796189" y="568354"/>
                  </a:cubicBezTo>
                  <a:lnTo>
                    <a:pt x="58175" y="568354"/>
                  </a:lnTo>
                  <a:cubicBezTo>
                    <a:pt x="54431" y="568354"/>
                    <a:pt x="51395" y="565317"/>
                    <a:pt x="51395" y="561571"/>
                  </a:cubicBezTo>
                  <a:cubicBezTo>
                    <a:pt x="51395" y="557825"/>
                    <a:pt x="54431" y="554789"/>
                    <a:pt x="58175" y="554789"/>
                  </a:cubicBezTo>
                  <a:close/>
                </a:path>
              </a:pathLst>
            </a:custGeom>
            <a:solidFill>
              <a:schemeClr val="accent4"/>
            </a:solidFill>
            <a:ln w="65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38" name="Group 37">
            <a:extLst>
              <a:ext uri="{FF2B5EF4-FFF2-40B4-BE49-F238E27FC236}">
                <a16:creationId xmlns:a16="http://schemas.microsoft.com/office/drawing/2014/main" id="{A18C31A7-AD4B-4BE1-8AC5-ADCFF446E1D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269237" y="4771935"/>
            <a:ext cx="8947503" cy="522386"/>
            <a:chOff x="506805" y="1895263"/>
            <a:chExt cx="8947503" cy="522386"/>
          </a:xfrm>
        </p:grpSpPr>
        <p:sp>
          <p:nvSpPr>
            <p:cNvPr id="39" name="Rectangle 38">
              <a:extLst>
                <a:ext uri="{FF2B5EF4-FFF2-40B4-BE49-F238E27FC236}">
                  <a16:creationId xmlns:a16="http://schemas.microsoft.com/office/drawing/2014/main" id="{E5320018-A66E-49D1-8E50-32D3EBB61CB8}"/>
                </a:ext>
              </a:extLst>
            </p:cNvPr>
            <p:cNvSpPr/>
            <p:nvPr/>
          </p:nvSpPr>
          <p:spPr>
            <a:xfrm>
              <a:off x="506805" y="1895263"/>
              <a:ext cx="8947503" cy="522386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05936" rtlCol="0" anchor="ctr"/>
            <a:lstStyle/>
            <a:p>
              <a:r>
                <a:rPr lang="en-GB" sz="1600">
                  <a:solidFill>
                    <a:schemeClr val="tx1"/>
                  </a:solidFill>
                </a:rPr>
                <a:t>Business Process Diagram</a:t>
              </a:r>
            </a:p>
          </p:txBody>
        </p:sp>
        <p:grpSp>
          <p:nvGrpSpPr>
            <p:cNvPr id="40" name="Group 39">
              <a:extLst>
                <a:ext uri="{FF2B5EF4-FFF2-40B4-BE49-F238E27FC236}">
                  <a16:creationId xmlns:a16="http://schemas.microsoft.com/office/drawing/2014/main" id="{FC462B02-7CD8-48DF-B448-363F78DD6D5A}"/>
                </a:ext>
              </a:extLst>
            </p:cNvPr>
            <p:cNvGrpSpPr/>
            <p:nvPr/>
          </p:nvGrpSpPr>
          <p:grpSpPr>
            <a:xfrm>
              <a:off x="730757" y="1993400"/>
              <a:ext cx="326112" cy="326112"/>
              <a:chOff x="115497" y="1864737"/>
              <a:chExt cx="461744" cy="461744"/>
            </a:xfrm>
            <a:solidFill>
              <a:schemeClr val="tx2"/>
            </a:solidFill>
          </p:grpSpPr>
          <p:sp>
            <p:nvSpPr>
              <p:cNvPr id="41" name="Freeform: Shape 40">
                <a:extLst>
                  <a:ext uri="{FF2B5EF4-FFF2-40B4-BE49-F238E27FC236}">
                    <a16:creationId xmlns:a16="http://schemas.microsoft.com/office/drawing/2014/main" id="{F1BDF2D6-0E5D-403A-9E43-BEE4486364D3}"/>
                  </a:ext>
                </a:extLst>
              </p:cNvPr>
              <p:cNvSpPr/>
              <p:nvPr/>
            </p:nvSpPr>
            <p:spPr bwMode="auto">
              <a:xfrm>
                <a:off x="115497" y="1864737"/>
                <a:ext cx="461744" cy="461744"/>
              </a:xfrm>
              <a:custGeom>
                <a:avLst/>
                <a:gdLst>
                  <a:gd name="connsiteX0" fmla="*/ 230872 w 461744"/>
                  <a:gd name="connsiteY0" fmla="*/ 30738 h 461744"/>
                  <a:gd name="connsiteX1" fmla="*/ 30738 w 461744"/>
                  <a:gd name="connsiteY1" fmla="*/ 230872 h 461744"/>
                  <a:gd name="connsiteX2" fmla="*/ 230872 w 461744"/>
                  <a:gd name="connsiteY2" fmla="*/ 431006 h 461744"/>
                  <a:gd name="connsiteX3" fmla="*/ 431006 w 461744"/>
                  <a:gd name="connsiteY3" fmla="*/ 230872 h 461744"/>
                  <a:gd name="connsiteX4" fmla="*/ 230872 w 461744"/>
                  <a:gd name="connsiteY4" fmla="*/ 30738 h 461744"/>
                  <a:gd name="connsiteX5" fmla="*/ 230872 w 461744"/>
                  <a:gd name="connsiteY5" fmla="*/ 0 h 461744"/>
                  <a:gd name="connsiteX6" fmla="*/ 461744 w 461744"/>
                  <a:gd name="connsiteY6" fmla="*/ 230872 h 461744"/>
                  <a:gd name="connsiteX7" fmla="*/ 230872 w 461744"/>
                  <a:gd name="connsiteY7" fmla="*/ 461744 h 461744"/>
                  <a:gd name="connsiteX8" fmla="*/ 0 w 461744"/>
                  <a:gd name="connsiteY8" fmla="*/ 230872 h 461744"/>
                  <a:gd name="connsiteX9" fmla="*/ 230872 w 461744"/>
                  <a:gd name="connsiteY9" fmla="*/ 0 h 4617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61744" h="461744">
                    <a:moveTo>
                      <a:pt x="230872" y="30738"/>
                    </a:moveTo>
                    <a:cubicBezTo>
                      <a:pt x="120341" y="30738"/>
                      <a:pt x="30738" y="120341"/>
                      <a:pt x="30738" y="230872"/>
                    </a:cubicBezTo>
                    <a:cubicBezTo>
                      <a:pt x="30738" y="341403"/>
                      <a:pt x="120341" y="431006"/>
                      <a:pt x="230872" y="431006"/>
                    </a:cubicBezTo>
                    <a:cubicBezTo>
                      <a:pt x="341403" y="431006"/>
                      <a:pt x="431006" y="341403"/>
                      <a:pt x="431006" y="230872"/>
                    </a:cubicBezTo>
                    <a:cubicBezTo>
                      <a:pt x="431006" y="120341"/>
                      <a:pt x="341403" y="30738"/>
                      <a:pt x="230872" y="30738"/>
                    </a:cubicBezTo>
                    <a:close/>
                    <a:moveTo>
                      <a:pt x="230872" y="0"/>
                    </a:moveTo>
                    <a:cubicBezTo>
                      <a:pt x="358379" y="0"/>
                      <a:pt x="461744" y="103365"/>
                      <a:pt x="461744" y="230872"/>
                    </a:cubicBezTo>
                    <a:cubicBezTo>
                      <a:pt x="461744" y="358379"/>
                      <a:pt x="358379" y="461744"/>
                      <a:pt x="230872" y="461744"/>
                    </a:cubicBezTo>
                    <a:cubicBezTo>
                      <a:pt x="103365" y="461744"/>
                      <a:pt x="0" y="358379"/>
                      <a:pt x="0" y="230872"/>
                    </a:cubicBezTo>
                    <a:cubicBezTo>
                      <a:pt x="0" y="103365"/>
                      <a:pt x="103365" y="0"/>
                      <a:pt x="230872" y="0"/>
                    </a:cubicBezTo>
                    <a:close/>
                  </a:path>
                </a:pathLst>
              </a:custGeom>
              <a:grpFill/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240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42" name="Graphic 77">
                <a:extLst>
                  <a:ext uri="{FF2B5EF4-FFF2-40B4-BE49-F238E27FC236}">
                    <a16:creationId xmlns:a16="http://schemas.microsoft.com/office/drawing/2014/main" id="{574C816B-4B98-4CCA-8ABF-EB122DB6E637}"/>
                  </a:ext>
                </a:extLst>
              </p:cNvPr>
              <p:cNvSpPr/>
              <p:nvPr/>
            </p:nvSpPr>
            <p:spPr>
              <a:xfrm>
                <a:off x="230796" y="2004258"/>
                <a:ext cx="243074" cy="175239"/>
              </a:xfrm>
              <a:custGeom>
                <a:avLst/>
                <a:gdLst>
                  <a:gd name="connsiteX0" fmla="*/ 349767 w 409575"/>
                  <a:gd name="connsiteY0" fmla="*/ 0 h 295275"/>
                  <a:gd name="connsiteX1" fmla="*/ 155475 w 409575"/>
                  <a:gd name="connsiteY1" fmla="*/ 182790 h 295275"/>
                  <a:gd name="connsiteX2" fmla="*/ 55043 w 409575"/>
                  <a:gd name="connsiteY2" fmla="*/ 107415 h 295275"/>
                  <a:gd name="connsiteX3" fmla="*/ 0 w 409575"/>
                  <a:gd name="connsiteY3" fmla="*/ 181147 h 295275"/>
                  <a:gd name="connsiteX4" fmla="*/ 131445 w 409575"/>
                  <a:gd name="connsiteY4" fmla="*/ 279731 h 295275"/>
                  <a:gd name="connsiteX5" fmla="*/ 163279 w 409575"/>
                  <a:gd name="connsiteY5" fmla="*/ 303556 h 295275"/>
                  <a:gd name="connsiteX6" fmla="*/ 191623 w 409575"/>
                  <a:gd name="connsiteY6" fmla="*/ 275418 h 295275"/>
                  <a:gd name="connsiteX7" fmla="*/ 415079 w 409575"/>
                  <a:gd name="connsiteY7" fmla="*/ 65106 h 295275"/>
                  <a:gd name="connsiteX8" fmla="*/ 349767 w 409575"/>
                  <a:gd name="connsiteY8" fmla="*/ 0 h 2952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09575" h="295275">
                    <a:moveTo>
                      <a:pt x="349767" y="0"/>
                    </a:moveTo>
                    <a:cubicBezTo>
                      <a:pt x="290526" y="59369"/>
                      <a:pt x="220475" y="120315"/>
                      <a:pt x="155475" y="182790"/>
                    </a:cubicBezTo>
                    <a:lnTo>
                      <a:pt x="55043" y="107415"/>
                    </a:lnTo>
                    <a:lnTo>
                      <a:pt x="0" y="181147"/>
                    </a:lnTo>
                    <a:lnTo>
                      <a:pt x="131445" y="279731"/>
                    </a:lnTo>
                    <a:lnTo>
                      <a:pt x="163279" y="303556"/>
                    </a:lnTo>
                    <a:lnTo>
                      <a:pt x="191623" y="275418"/>
                    </a:lnTo>
                    <a:cubicBezTo>
                      <a:pt x="259626" y="207269"/>
                      <a:pt x="342874" y="137467"/>
                      <a:pt x="415079" y="65106"/>
                    </a:cubicBezTo>
                    <a:lnTo>
                      <a:pt x="349767" y="0"/>
                    </a:lnTo>
                    <a:close/>
                  </a:path>
                </a:pathLst>
              </a:custGeom>
              <a:grpFill/>
              <a:ln w="657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grpSp>
        <p:nvGrpSpPr>
          <p:cNvPr id="43" name="Group 42">
            <a:extLst>
              <a:ext uri="{FF2B5EF4-FFF2-40B4-BE49-F238E27FC236}">
                <a16:creationId xmlns:a16="http://schemas.microsoft.com/office/drawing/2014/main" id="{97466D78-8CAC-4A75-8E32-811CF67024F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293601" y="5390215"/>
            <a:ext cx="8947503" cy="522386"/>
            <a:chOff x="506805" y="1895263"/>
            <a:chExt cx="8947503" cy="522386"/>
          </a:xfrm>
        </p:grpSpPr>
        <p:sp>
          <p:nvSpPr>
            <p:cNvPr id="44" name="Rectangle 43">
              <a:extLst>
                <a:ext uri="{FF2B5EF4-FFF2-40B4-BE49-F238E27FC236}">
                  <a16:creationId xmlns:a16="http://schemas.microsoft.com/office/drawing/2014/main" id="{5E860710-747A-4001-8935-A914C88E7E60}"/>
                </a:ext>
              </a:extLst>
            </p:cNvPr>
            <p:cNvSpPr/>
            <p:nvPr/>
          </p:nvSpPr>
          <p:spPr>
            <a:xfrm>
              <a:off x="506805" y="1895263"/>
              <a:ext cx="8947503" cy="522386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05936" rtlCol="0" anchor="ctr"/>
            <a:lstStyle/>
            <a:p>
              <a:r>
                <a:rPr lang="en-GB" sz="1600">
                  <a:solidFill>
                    <a:schemeClr val="tx1"/>
                  </a:solidFill>
                </a:rPr>
                <a:t>Integration Diagram</a:t>
              </a:r>
            </a:p>
          </p:txBody>
        </p:sp>
        <p:grpSp>
          <p:nvGrpSpPr>
            <p:cNvPr id="45" name="Group 44">
              <a:extLst>
                <a:ext uri="{FF2B5EF4-FFF2-40B4-BE49-F238E27FC236}">
                  <a16:creationId xmlns:a16="http://schemas.microsoft.com/office/drawing/2014/main" id="{57EAAE2B-1B68-4BD9-9498-845ADE64CE64}"/>
                </a:ext>
              </a:extLst>
            </p:cNvPr>
            <p:cNvGrpSpPr/>
            <p:nvPr/>
          </p:nvGrpSpPr>
          <p:grpSpPr>
            <a:xfrm>
              <a:off x="730757" y="1993400"/>
              <a:ext cx="326112" cy="326112"/>
              <a:chOff x="115497" y="1864737"/>
              <a:chExt cx="461744" cy="461744"/>
            </a:xfrm>
            <a:solidFill>
              <a:schemeClr val="tx2"/>
            </a:solidFill>
          </p:grpSpPr>
          <p:sp>
            <p:nvSpPr>
              <p:cNvPr id="46" name="Freeform: Shape 45">
                <a:extLst>
                  <a:ext uri="{FF2B5EF4-FFF2-40B4-BE49-F238E27FC236}">
                    <a16:creationId xmlns:a16="http://schemas.microsoft.com/office/drawing/2014/main" id="{353848C8-DF97-4DEC-B8C8-C4E1F9403338}"/>
                  </a:ext>
                </a:extLst>
              </p:cNvPr>
              <p:cNvSpPr/>
              <p:nvPr/>
            </p:nvSpPr>
            <p:spPr bwMode="auto">
              <a:xfrm>
                <a:off x="115497" y="1864737"/>
                <a:ext cx="461744" cy="461744"/>
              </a:xfrm>
              <a:custGeom>
                <a:avLst/>
                <a:gdLst>
                  <a:gd name="connsiteX0" fmla="*/ 230872 w 461744"/>
                  <a:gd name="connsiteY0" fmla="*/ 30738 h 461744"/>
                  <a:gd name="connsiteX1" fmla="*/ 30738 w 461744"/>
                  <a:gd name="connsiteY1" fmla="*/ 230872 h 461744"/>
                  <a:gd name="connsiteX2" fmla="*/ 230872 w 461744"/>
                  <a:gd name="connsiteY2" fmla="*/ 431006 h 461744"/>
                  <a:gd name="connsiteX3" fmla="*/ 431006 w 461744"/>
                  <a:gd name="connsiteY3" fmla="*/ 230872 h 461744"/>
                  <a:gd name="connsiteX4" fmla="*/ 230872 w 461744"/>
                  <a:gd name="connsiteY4" fmla="*/ 30738 h 461744"/>
                  <a:gd name="connsiteX5" fmla="*/ 230872 w 461744"/>
                  <a:gd name="connsiteY5" fmla="*/ 0 h 461744"/>
                  <a:gd name="connsiteX6" fmla="*/ 461744 w 461744"/>
                  <a:gd name="connsiteY6" fmla="*/ 230872 h 461744"/>
                  <a:gd name="connsiteX7" fmla="*/ 230872 w 461744"/>
                  <a:gd name="connsiteY7" fmla="*/ 461744 h 461744"/>
                  <a:gd name="connsiteX8" fmla="*/ 0 w 461744"/>
                  <a:gd name="connsiteY8" fmla="*/ 230872 h 461744"/>
                  <a:gd name="connsiteX9" fmla="*/ 230872 w 461744"/>
                  <a:gd name="connsiteY9" fmla="*/ 0 h 4617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61744" h="461744">
                    <a:moveTo>
                      <a:pt x="230872" y="30738"/>
                    </a:moveTo>
                    <a:cubicBezTo>
                      <a:pt x="120341" y="30738"/>
                      <a:pt x="30738" y="120341"/>
                      <a:pt x="30738" y="230872"/>
                    </a:cubicBezTo>
                    <a:cubicBezTo>
                      <a:pt x="30738" y="341403"/>
                      <a:pt x="120341" y="431006"/>
                      <a:pt x="230872" y="431006"/>
                    </a:cubicBezTo>
                    <a:cubicBezTo>
                      <a:pt x="341403" y="431006"/>
                      <a:pt x="431006" y="341403"/>
                      <a:pt x="431006" y="230872"/>
                    </a:cubicBezTo>
                    <a:cubicBezTo>
                      <a:pt x="431006" y="120341"/>
                      <a:pt x="341403" y="30738"/>
                      <a:pt x="230872" y="30738"/>
                    </a:cubicBezTo>
                    <a:close/>
                    <a:moveTo>
                      <a:pt x="230872" y="0"/>
                    </a:moveTo>
                    <a:cubicBezTo>
                      <a:pt x="358379" y="0"/>
                      <a:pt x="461744" y="103365"/>
                      <a:pt x="461744" y="230872"/>
                    </a:cubicBezTo>
                    <a:cubicBezTo>
                      <a:pt x="461744" y="358379"/>
                      <a:pt x="358379" y="461744"/>
                      <a:pt x="230872" y="461744"/>
                    </a:cubicBezTo>
                    <a:cubicBezTo>
                      <a:pt x="103365" y="461744"/>
                      <a:pt x="0" y="358379"/>
                      <a:pt x="0" y="230872"/>
                    </a:cubicBezTo>
                    <a:cubicBezTo>
                      <a:pt x="0" y="103365"/>
                      <a:pt x="103365" y="0"/>
                      <a:pt x="230872" y="0"/>
                    </a:cubicBezTo>
                    <a:close/>
                  </a:path>
                </a:pathLst>
              </a:custGeom>
              <a:grpFill/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240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47" name="Graphic 77">
                <a:extLst>
                  <a:ext uri="{FF2B5EF4-FFF2-40B4-BE49-F238E27FC236}">
                    <a16:creationId xmlns:a16="http://schemas.microsoft.com/office/drawing/2014/main" id="{9B2B3A3C-B681-48F8-8030-86924AEF7F7C}"/>
                  </a:ext>
                </a:extLst>
              </p:cNvPr>
              <p:cNvSpPr/>
              <p:nvPr/>
            </p:nvSpPr>
            <p:spPr>
              <a:xfrm>
                <a:off x="230796" y="2004258"/>
                <a:ext cx="243074" cy="175239"/>
              </a:xfrm>
              <a:custGeom>
                <a:avLst/>
                <a:gdLst>
                  <a:gd name="connsiteX0" fmla="*/ 349767 w 409575"/>
                  <a:gd name="connsiteY0" fmla="*/ 0 h 295275"/>
                  <a:gd name="connsiteX1" fmla="*/ 155475 w 409575"/>
                  <a:gd name="connsiteY1" fmla="*/ 182790 h 295275"/>
                  <a:gd name="connsiteX2" fmla="*/ 55043 w 409575"/>
                  <a:gd name="connsiteY2" fmla="*/ 107415 h 295275"/>
                  <a:gd name="connsiteX3" fmla="*/ 0 w 409575"/>
                  <a:gd name="connsiteY3" fmla="*/ 181147 h 295275"/>
                  <a:gd name="connsiteX4" fmla="*/ 131445 w 409575"/>
                  <a:gd name="connsiteY4" fmla="*/ 279731 h 295275"/>
                  <a:gd name="connsiteX5" fmla="*/ 163279 w 409575"/>
                  <a:gd name="connsiteY5" fmla="*/ 303556 h 295275"/>
                  <a:gd name="connsiteX6" fmla="*/ 191623 w 409575"/>
                  <a:gd name="connsiteY6" fmla="*/ 275418 h 295275"/>
                  <a:gd name="connsiteX7" fmla="*/ 415079 w 409575"/>
                  <a:gd name="connsiteY7" fmla="*/ 65106 h 295275"/>
                  <a:gd name="connsiteX8" fmla="*/ 349767 w 409575"/>
                  <a:gd name="connsiteY8" fmla="*/ 0 h 2952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09575" h="295275">
                    <a:moveTo>
                      <a:pt x="349767" y="0"/>
                    </a:moveTo>
                    <a:cubicBezTo>
                      <a:pt x="290526" y="59369"/>
                      <a:pt x="220475" y="120315"/>
                      <a:pt x="155475" y="182790"/>
                    </a:cubicBezTo>
                    <a:lnTo>
                      <a:pt x="55043" y="107415"/>
                    </a:lnTo>
                    <a:lnTo>
                      <a:pt x="0" y="181147"/>
                    </a:lnTo>
                    <a:lnTo>
                      <a:pt x="131445" y="279731"/>
                    </a:lnTo>
                    <a:lnTo>
                      <a:pt x="163279" y="303556"/>
                    </a:lnTo>
                    <a:lnTo>
                      <a:pt x="191623" y="275418"/>
                    </a:lnTo>
                    <a:cubicBezTo>
                      <a:pt x="259626" y="207269"/>
                      <a:pt x="342874" y="137467"/>
                      <a:pt x="415079" y="65106"/>
                    </a:cubicBezTo>
                    <a:lnTo>
                      <a:pt x="349767" y="0"/>
                    </a:lnTo>
                    <a:close/>
                  </a:path>
                </a:pathLst>
              </a:custGeom>
              <a:grpFill/>
              <a:ln w="657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grpSp>
        <p:nvGrpSpPr>
          <p:cNvPr id="73" name="Group 72">
            <a:extLst>
              <a:ext uri="{FF2B5EF4-FFF2-40B4-BE49-F238E27FC236}">
                <a16:creationId xmlns:a16="http://schemas.microsoft.com/office/drawing/2014/main" id="{AEE11099-064A-431F-8AE0-CE84BAA66EA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263558" y="2284343"/>
            <a:ext cx="8947502" cy="522386"/>
            <a:chOff x="506805" y="1895263"/>
            <a:chExt cx="8947502" cy="522386"/>
          </a:xfrm>
        </p:grpSpPr>
        <p:sp>
          <p:nvSpPr>
            <p:cNvPr id="74" name="Rectangle 73">
              <a:extLst>
                <a:ext uri="{FF2B5EF4-FFF2-40B4-BE49-F238E27FC236}">
                  <a16:creationId xmlns:a16="http://schemas.microsoft.com/office/drawing/2014/main" id="{D6DB623E-5BE1-4E5F-B54F-B6C5E9272ED0}"/>
                </a:ext>
              </a:extLst>
            </p:cNvPr>
            <p:cNvSpPr/>
            <p:nvPr/>
          </p:nvSpPr>
          <p:spPr>
            <a:xfrm>
              <a:off x="506805" y="1895263"/>
              <a:ext cx="8947502" cy="522386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05936" tIns="45720" rIns="91440" bIns="45720" rtlCol="0" anchor="ctr"/>
            <a:lstStyle/>
            <a:p>
              <a:r>
                <a:rPr lang="en-GB" sz="1600">
                  <a:solidFill>
                    <a:schemeClr val="tx1"/>
                  </a:solidFill>
                  <a:cs typeface="Segoe UI"/>
                </a:rPr>
                <a:t>Gap Solution Documents</a:t>
              </a:r>
              <a:endParaRPr lang="en-GB" sz="1600" dirty="0">
                <a:solidFill>
                  <a:schemeClr val="tx1"/>
                </a:solidFill>
                <a:cs typeface="Segoe UI"/>
              </a:endParaRPr>
            </a:p>
          </p:txBody>
        </p:sp>
        <p:grpSp>
          <p:nvGrpSpPr>
            <p:cNvPr id="75" name="Group 74">
              <a:extLst>
                <a:ext uri="{FF2B5EF4-FFF2-40B4-BE49-F238E27FC236}">
                  <a16:creationId xmlns:a16="http://schemas.microsoft.com/office/drawing/2014/main" id="{6122E3BF-6C82-477D-81D5-9765B2958484}"/>
                </a:ext>
              </a:extLst>
            </p:cNvPr>
            <p:cNvGrpSpPr/>
            <p:nvPr/>
          </p:nvGrpSpPr>
          <p:grpSpPr>
            <a:xfrm>
              <a:off x="730757" y="1993400"/>
              <a:ext cx="326112" cy="326112"/>
              <a:chOff x="115497" y="1864737"/>
              <a:chExt cx="461744" cy="461744"/>
            </a:xfrm>
            <a:solidFill>
              <a:schemeClr val="tx2"/>
            </a:solidFill>
          </p:grpSpPr>
          <p:sp>
            <p:nvSpPr>
              <p:cNvPr id="76" name="Freeform: Shape 75">
                <a:extLst>
                  <a:ext uri="{FF2B5EF4-FFF2-40B4-BE49-F238E27FC236}">
                    <a16:creationId xmlns:a16="http://schemas.microsoft.com/office/drawing/2014/main" id="{DB01C00E-AE4F-49C2-A687-73B65EB2938F}"/>
                  </a:ext>
                </a:extLst>
              </p:cNvPr>
              <p:cNvSpPr/>
              <p:nvPr/>
            </p:nvSpPr>
            <p:spPr bwMode="auto">
              <a:xfrm>
                <a:off x="115497" y="1864737"/>
                <a:ext cx="461744" cy="461744"/>
              </a:xfrm>
              <a:custGeom>
                <a:avLst/>
                <a:gdLst>
                  <a:gd name="connsiteX0" fmla="*/ 230872 w 461744"/>
                  <a:gd name="connsiteY0" fmla="*/ 30738 h 461744"/>
                  <a:gd name="connsiteX1" fmla="*/ 30738 w 461744"/>
                  <a:gd name="connsiteY1" fmla="*/ 230872 h 461744"/>
                  <a:gd name="connsiteX2" fmla="*/ 230872 w 461744"/>
                  <a:gd name="connsiteY2" fmla="*/ 431006 h 461744"/>
                  <a:gd name="connsiteX3" fmla="*/ 431006 w 461744"/>
                  <a:gd name="connsiteY3" fmla="*/ 230872 h 461744"/>
                  <a:gd name="connsiteX4" fmla="*/ 230872 w 461744"/>
                  <a:gd name="connsiteY4" fmla="*/ 30738 h 461744"/>
                  <a:gd name="connsiteX5" fmla="*/ 230872 w 461744"/>
                  <a:gd name="connsiteY5" fmla="*/ 0 h 461744"/>
                  <a:gd name="connsiteX6" fmla="*/ 461744 w 461744"/>
                  <a:gd name="connsiteY6" fmla="*/ 230872 h 461744"/>
                  <a:gd name="connsiteX7" fmla="*/ 230872 w 461744"/>
                  <a:gd name="connsiteY7" fmla="*/ 461744 h 461744"/>
                  <a:gd name="connsiteX8" fmla="*/ 0 w 461744"/>
                  <a:gd name="connsiteY8" fmla="*/ 230872 h 461744"/>
                  <a:gd name="connsiteX9" fmla="*/ 230872 w 461744"/>
                  <a:gd name="connsiteY9" fmla="*/ 0 h 4617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61744" h="461744">
                    <a:moveTo>
                      <a:pt x="230872" y="30738"/>
                    </a:moveTo>
                    <a:cubicBezTo>
                      <a:pt x="120341" y="30738"/>
                      <a:pt x="30738" y="120341"/>
                      <a:pt x="30738" y="230872"/>
                    </a:cubicBezTo>
                    <a:cubicBezTo>
                      <a:pt x="30738" y="341403"/>
                      <a:pt x="120341" y="431006"/>
                      <a:pt x="230872" y="431006"/>
                    </a:cubicBezTo>
                    <a:cubicBezTo>
                      <a:pt x="341403" y="431006"/>
                      <a:pt x="431006" y="341403"/>
                      <a:pt x="431006" y="230872"/>
                    </a:cubicBezTo>
                    <a:cubicBezTo>
                      <a:pt x="431006" y="120341"/>
                      <a:pt x="341403" y="30738"/>
                      <a:pt x="230872" y="30738"/>
                    </a:cubicBezTo>
                    <a:close/>
                    <a:moveTo>
                      <a:pt x="230872" y="0"/>
                    </a:moveTo>
                    <a:cubicBezTo>
                      <a:pt x="358379" y="0"/>
                      <a:pt x="461744" y="103365"/>
                      <a:pt x="461744" y="230872"/>
                    </a:cubicBezTo>
                    <a:cubicBezTo>
                      <a:pt x="461744" y="358379"/>
                      <a:pt x="358379" y="461744"/>
                      <a:pt x="230872" y="461744"/>
                    </a:cubicBezTo>
                    <a:cubicBezTo>
                      <a:pt x="103365" y="461744"/>
                      <a:pt x="0" y="358379"/>
                      <a:pt x="0" y="230872"/>
                    </a:cubicBezTo>
                    <a:cubicBezTo>
                      <a:pt x="0" y="103365"/>
                      <a:pt x="103365" y="0"/>
                      <a:pt x="230872" y="0"/>
                    </a:cubicBezTo>
                    <a:close/>
                  </a:path>
                </a:pathLst>
              </a:custGeom>
              <a:grpFill/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240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77" name="Graphic 77">
                <a:extLst>
                  <a:ext uri="{FF2B5EF4-FFF2-40B4-BE49-F238E27FC236}">
                    <a16:creationId xmlns:a16="http://schemas.microsoft.com/office/drawing/2014/main" id="{058DB4EC-92E7-4C6C-92AB-2BAE995B1F52}"/>
                  </a:ext>
                </a:extLst>
              </p:cNvPr>
              <p:cNvSpPr/>
              <p:nvPr/>
            </p:nvSpPr>
            <p:spPr>
              <a:xfrm>
                <a:off x="230796" y="2004258"/>
                <a:ext cx="243074" cy="175239"/>
              </a:xfrm>
              <a:custGeom>
                <a:avLst/>
                <a:gdLst>
                  <a:gd name="connsiteX0" fmla="*/ 349767 w 409575"/>
                  <a:gd name="connsiteY0" fmla="*/ 0 h 295275"/>
                  <a:gd name="connsiteX1" fmla="*/ 155475 w 409575"/>
                  <a:gd name="connsiteY1" fmla="*/ 182790 h 295275"/>
                  <a:gd name="connsiteX2" fmla="*/ 55043 w 409575"/>
                  <a:gd name="connsiteY2" fmla="*/ 107415 h 295275"/>
                  <a:gd name="connsiteX3" fmla="*/ 0 w 409575"/>
                  <a:gd name="connsiteY3" fmla="*/ 181147 h 295275"/>
                  <a:gd name="connsiteX4" fmla="*/ 131445 w 409575"/>
                  <a:gd name="connsiteY4" fmla="*/ 279731 h 295275"/>
                  <a:gd name="connsiteX5" fmla="*/ 163279 w 409575"/>
                  <a:gd name="connsiteY5" fmla="*/ 303556 h 295275"/>
                  <a:gd name="connsiteX6" fmla="*/ 191623 w 409575"/>
                  <a:gd name="connsiteY6" fmla="*/ 275418 h 295275"/>
                  <a:gd name="connsiteX7" fmla="*/ 415079 w 409575"/>
                  <a:gd name="connsiteY7" fmla="*/ 65106 h 295275"/>
                  <a:gd name="connsiteX8" fmla="*/ 349767 w 409575"/>
                  <a:gd name="connsiteY8" fmla="*/ 0 h 2952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09575" h="295275">
                    <a:moveTo>
                      <a:pt x="349767" y="0"/>
                    </a:moveTo>
                    <a:cubicBezTo>
                      <a:pt x="290526" y="59369"/>
                      <a:pt x="220475" y="120315"/>
                      <a:pt x="155475" y="182790"/>
                    </a:cubicBezTo>
                    <a:lnTo>
                      <a:pt x="55043" y="107415"/>
                    </a:lnTo>
                    <a:lnTo>
                      <a:pt x="0" y="181147"/>
                    </a:lnTo>
                    <a:lnTo>
                      <a:pt x="131445" y="279731"/>
                    </a:lnTo>
                    <a:lnTo>
                      <a:pt x="163279" y="303556"/>
                    </a:lnTo>
                    <a:lnTo>
                      <a:pt x="191623" y="275418"/>
                    </a:lnTo>
                    <a:cubicBezTo>
                      <a:pt x="259626" y="207269"/>
                      <a:pt x="342874" y="137467"/>
                      <a:pt x="415079" y="65106"/>
                    </a:cubicBezTo>
                    <a:lnTo>
                      <a:pt x="349767" y="0"/>
                    </a:lnTo>
                    <a:close/>
                  </a:path>
                </a:pathLst>
              </a:custGeom>
              <a:grpFill/>
              <a:ln w="657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7449710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5010FE8-BF09-4146-B084-66CB05B66F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>
                <a:solidFill>
                  <a:srgbClr val="505050"/>
                </a:solidFill>
              </a:rPr>
              <a:t>Top gaps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7D0EBBCF-0C7C-4CEF-B825-B08E20F51AA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457200" y="1189176"/>
            <a:ext cx="11277600" cy="522386"/>
            <a:chOff x="457200" y="1895261"/>
            <a:chExt cx="11277600" cy="522386"/>
          </a:xfrm>
        </p:grpSpPr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76583F2C-13BC-4FA8-A9DE-F1F764C38F10}"/>
                </a:ext>
              </a:extLst>
            </p:cNvPr>
            <p:cNvSpPr/>
            <p:nvPr/>
          </p:nvSpPr>
          <p:spPr>
            <a:xfrm>
              <a:off x="506804" y="1895261"/>
              <a:ext cx="11227996" cy="522386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8640" rtlCol="0" anchor="ctr"/>
            <a:lstStyle/>
            <a:p>
              <a:r>
                <a:rPr lang="en-GB" sz="1600">
                  <a:solidFill>
                    <a:srgbClr val="505050"/>
                  </a:solidFill>
                </a:rPr>
                <a:t>Identify and list the main gap </a:t>
              </a:r>
              <a:r>
                <a:rPr lang="en-GB" sz="1600" b="0" i="0">
                  <a:solidFill>
                    <a:srgbClr val="505050"/>
                  </a:solidFill>
                  <a:effectLst/>
                  <a:latin typeface="Arial" panose="020B0604020202020204" pitchFamily="34" charset="0"/>
                </a:rPr>
                <a:t>in terms of complexity and potential risks. Describe the solution.</a:t>
              </a:r>
              <a:endParaRPr lang="en-GB" sz="1600">
                <a:solidFill>
                  <a:srgbClr val="505050"/>
                </a:solidFill>
                <a:highlight>
                  <a:srgbClr val="FFFF00"/>
                </a:highlight>
              </a:endParaRPr>
            </a:p>
          </p:txBody>
        </p:sp>
        <p:grpSp>
          <p:nvGrpSpPr>
            <p:cNvPr id="12" name="Group 11">
              <a:extLst>
                <a:ext uri="{FF2B5EF4-FFF2-40B4-BE49-F238E27FC236}">
                  <a16:creationId xmlns:a16="http://schemas.microsoft.com/office/drawing/2014/main" id="{E724E342-E48E-4907-9072-289559104C52}"/>
                </a:ext>
              </a:extLst>
            </p:cNvPr>
            <p:cNvGrpSpPr/>
            <p:nvPr/>
          </p:nvGrpSpPr>
          <p:grpSpPr>
            <a:xfrm>
              <a:off x="457200" y="1993398"/>
              <a:ext cx="326112" cy="326112"/>
              <a:chOff x="115497" y="1864737"/>
              <a:chExt cx="461744" cy="461744"/>
            </a:xfrm>
            <a:solidFill>
              <a:schemeClr val="tx2"/>
            </a:solidFill>
          </p:grpSpPr>
          <p:sp>
            <p:nvSpPr>
              <p:cNvPr id="13" name="Freeform: Shape 12">
                <a:extLst>
                  <a:ext uri="{FF2B5EF4-FFF2-40B4-BE49-F238E27FC236}">
                    <a16:creationId xmlns:a16="http://schemas.microsoft.com/office/drawing/2014/main" id="{C369B4C5-09E2-40E1-809B-F38D97F29A2B}"/>
                  </a:ext>
                </a:extLst>
              </p:cNvPr>
              <p:cNvSpPr/>
              <p:nvPr/>
            </p:nvSpPr>
            <p:spPr bwMode="auto">
              <a:xfrm>
                <a:off x="115497" y="1864737"/>
                <a:ext cx="461744" cy="461744"/>
              </a:xfrm>
              <a:custGeom>
                <a:avLst/>
                <a:gdLst>
                  <a:gd name="connsiteX0" fmla="*/ 230872 w 461744"/>
                  <a:gd name="connsiteY0" fmla="*/ 30738 h 461744"/>
                  <a:gd name="connsiteX1" fmla="*/ 30738 w 461744"/>
                  <a:gd name="connsiteY1" fmla="*/ 230872 h 461744"/>
                  <a:gd name="connsiteX2" fmla="*/ 230872 w 461744"/>
                  <a:gd name="connsiteY2" fmla="*/ 431006 h 461744"/>
                  <a:gd name="connsiteX3" fmla="*/ 431006 w 461744"/>
                  <a:gd name="connsiteY3" fmla="*/ 230872 h 461744"/>
                  <a:gd name="connsiteX4" fmla="*/ 230872 w 461744"/>
                  <a:gd name="connsiteY4" fmla="*/ 30738 h 461744"/>
                  <a:gd name="connsiteX5" fmla="*/ 230872 w 461744"/>
                  <a:gd name="connsiteY5" fmla="*/ 0 h 461744"/>
                  <a:gd name="connsiteX6" fmla="*/ 461744 w 461744"/>
                  <a:gd name="connsiteY6" fmla="*/ 230872 h 461744"/>
                  <a:gd name="connsiteX7" fmla="*/ 230872 w 461744"/>
                  <a:gd name="connsiteY7" fmla="*/ 461744 h 461744"/>
                  <a:gd name="connsiteX8" fmla="*/ 0 w 461744"/>
                  <a:gd name="connsiteY8" fmla="*/ 230872 h 461744"/>
                  <a:gd name="connsiteX9" fmla="*/ 230872 w 461744"/>
                  <a:gd name="connsiteY9" fmla="*/ 0 h 4617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61744" h="461744">
                    <a:moveTo>
                      <a:pt x="230872" y="30738"/>
                    </a:moveTo>
                    <a:cubicBezTo>
                      <a:pt x="120341" y="30738"/>
                      <a:pt x="30738" y="120341"/>
                      <a:pt x="30738" y="230872"/>
                    </a:cubicBezTo>
                    <a:cubicBezTo>
                      <a:pt x="30738" y="341403"/>
                      <a:pt x="120341" y="431006"/>
                      <a:pt x="230872" y="431006"/>
                    </a:cubicBezTo>
                    <a:cubicBezTo>
                      <a:pt x="341403" y="431006"/>
                      <a:pt x="431006" y="341403"/>
                      <a:pt x="431006" y="230872"/>
                    </a:cubicBezTo>
                    <a:cubicBezTo>
                      <a:pt x="431006" y="120341"/>
                      <a:pt x="341403" y="30738"/>
                      <a:pt x="230872" y="30738"/>
                    </a:cubicBezTo>
                    <a:close/>
                    <a:moveTo>
                      <a:pt x="230872" y="0"/>
                    </a:moveTo>
                    <a:cubicBezTo>
                      <a:pt x="358379" y="0"/>
                      <a:pt x="461744" y="103365"/>
                      <a:pt x="461744" y="230872"/>
                    </a:cubicBezTo>
                    <a:cubicBezTo>
                      <a:pt x="461744" y="358379"/>
                      <a:pt x="358379" y="461744"/>
                      <a:pt x="230872" y="461744"/>
                    </a:cubicBezTo>
                    <a:cubicBezTo>
                      <a:pt x="103365" y="461744"/>
                      <a:pt x="0" y="358379"/>
                      <a:pt x="0" y="230872"/>
                    </a:cubicBezTo>
                    <a:cubicBezTo>
                      <a:pt x="0" y="103365"/>
                      <a:pt x="103365" y="0"/>
                      <a:pt x="230872" y="0"/>
                    </a:cubicBezTo>
                    <a:close/>
                  </a:path>
                </a:pathLst>
              </a:custGeom>
              <a:grpFill/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240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14" name="Graphic 77">
                <a:extLst>
                  <a:ext uri="{FF2B5EF4-FFF2-40B4-BE49-F238E27FC236}">
                    <a16:creationId xmlns:a16="http://schemas.microsoft.com/office/drawing/2014/main" id="{286F9C08-402C-4326-B8B7-33CDA61176F0}"/>
                  </a:ext>
                </a:extLst>
              </p:cNvPr>
              <p:cNvSpPr/>
              <p:nvPr/>
            </p:nvSpPr>
            <p:spPr>
              <a:xfrm>
                <a:off x="230796" y="2004258"/>
                <a:ext cx="243074" cy="175239"/>
              </a:xfrm>
              <a:custGeom>
                <a:avLst/>
                <a:gdLst>
                  <a:gd name="connsiteX0" fmla="*/ 349767 w 409575"/>
                  <a:gd name="connsiteY0" fmla="*/ 0 h 295275"/>
                  <a:gd name="connsiteX1" fmla="*/ 155475 w 409575"/>
                  <a:gd name="connsiteY1" fmla="*/ 182790 h 295275"/>
                  <a:gd name="connsiteX2" fmla="*/ 55043 w 409575"/>
                  <a:gd name="connsiteY2" fmla="*/ 107415 h 295275"/>
                  <a:gd name="connsiteX3" fmla="*/ 0 w 409575"/>
                  <a:gd name="connsiteY3" fmla="*/ 181147 h 295275"/>
                  <a:gd name="connsiteX4" fmla="*/ 131445 w 409575"/>
                  <a:gd name="connsiteY4" fmla="*/ 279731 h 295275"/>
                  <a:gd name="connsiteX5" fmla="*/ 163279 w 409575"/>
                  <a:gd name="connsiteY5" fmla="*/ 303556 h 295275"/>
                  <a:gd name="connsiteX6" fmla="*/ 191623 w 409575"/>
                  <a:gd name="connsiteY6" fmla="*/ 275418 h 295275"/>
                  <a:gd name="connsiteX7" fmla="*/ 415079 w 409575"/>
                  <a:gd name="connsiteY7" fmla="*/ 65106 h 295275"/>
                  <a:gd name="connsiteX8" fmla="*/ 349767 w 409575"/>
                  <a:gd name="connsiteY8" fmla="*/ 0 h 2952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09575" h="295275">
                    <a:moveTo>
                      <a:pt x="349767" y="0"/>
                    </a:moveTo>
                    <a:cubicBezTo>
                      <a:pt x="290526" y="59369"/>
                      <a:pt x="220475" y="120315"/>
                      <a:pt x="155475" y="182790"/>
                    </a:cubicBezTo>
                    <a:lnTo>
                      <a:pt x="55043" y="107415"/>
                    </a:lnTo>
                    <a:lnTo>
                      <a:pt x="0" y="181147"/>
                    </a:lnTo>
                    <a:lnTo>
                      <a:pt x="131445" y="279731"/>
                    </a:lnTo>
                    <a:lnTo>
                      <a:pt x="163279" y="303556"/>
                    </a:lnTo>
                    <a:lnTo>
                      <a:pt x="191623" y="275418"/>
                    </a:lnTo>
                    <a:cubicBezTo>
                      <a:pt x="259626" y="207269"/>
                      <a:pt x="342874" y="137467"/>
                      <a:pt x="415079" y="65106"/>
                    </a:cubicBezTo>
                    <a:lnTo>
                      <a:pt x="349767" y="0"/>
                    </a:lnTo>
                    <a:close/>
                  </a:path>
                </a:pathLst>
              </a:custGeom>
              <a:grpFill/>
              <a:ln w="657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9" name="Rectangle 8">
            <a:extLst>
              <a:ext uri="{FF2B5EF4-FFF2-40B4-BE49-F238E27FC236}">
                <a16:creationId xmlns:a16="http://schemas.microsoft.com/office/drawing/2014/main" id="{5F10B7DA-EBAD-49D8-8636-A3336D68F659}"/>
              </a:ext>
            </a:extLst>
          </p:cNvPr>
          <p:cNvSpPr/>
          <p:nvPr/>
        </p:nvSpPr>
        <p:spPr>
          <a:xfrm>
            <a:off x="8392668" y="0"/>
            <a:ext cx="3799332" cy="443365"/>
          </a:xfrm>
          <a:prstGeom prst="rect">
            <a:avLst/>
          </a:prstGeom>
          <a:solidFill>
            <a:schemeClr val="tx2"/>
          </a:solidFill>
          <a:ln w="31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defTabSz="932597">
              <a:defRPr/>
            </a:pPr>
            <a:r>
              <a:rPr lang="en-US" sz="2000">
                <a:solidFill>
                  <a:srgbClr val="FFC000"/>
                </a:solidFill>
                <a:latin typeface="+mj-lt"/>
              </a:rPr>
              <a:t>Customer slide (please update)</a:t>
            </a:r>
            <a:endParaRPr lang="en-US" sz="2000">
              <a:solidFill>
                <a:srgbClr val="FFC000"/>
              </a:solidFill>
              <a:latin typeface="+mj-lt"/>
              <a:cs typeface="Segoe UI Semibold"/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9E04F86D-C834-4ACE-86A6-012EE8D90DE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19973220"/>
              </p:ext>
            </p:extLst>
          </p:nvPr>
        </p:nvGraphicFramePr>
        <p:xfrm>
          <a:off x="269240" y="1809699"/>
          <a:ext cx="11655839" cy="3948849"/>
        </p:xfrm>
        <a:graphic>
          <a:graphicData uri="http://schemas.openxmlformats.org/drawingml/2006/table">
            <a:tbl>
              <a:tblPr firstRow="1">
                <a:tableStyleId>{5C22544A-7EE6-4342-B048-85BDC9FD1C3A}</a:tableStyleId>
              </a:tblPr>
              <a:tblGrid>
                <a:gridCol w="2026285">
                  <a:extLst>
                    <a:ext uri="{9D8B030D-6E8A-4147-A177-3AD203B41FA5}">
                      <a16:colId xmlns:a16="http://schemas.microsoft.com/office/drawing/2014/main" val="4084693508"/>
                    </a:ext>
                  </a:extLst>
                </a:gridCol>
                <a:gridCol w="1543049">
                  <a:extLst>
                    <a:ext uri="{9D8B030D-6E8A-4147-A177-3AD203B41FA5}">
                      <a16:colId xmlns:a16="http://schemas.microsoft.com/office/drawing/2014/main" val="2729363915"/>
                    </a:ext>
                  </a:extLst>
                </a:gridCol>
                <a:gridCol w="782134">
                  <a:extLst>
                    <a:ext uri="{9D8B030D-6E8A-4147-A177-3AD203B41FA5}">
                      <a16:colId xmlns:a16="http://schemas.microsoft.com/office/drawing/2014/main" val="4143064710"/>
                    </a:ext>
                  </a:extLst>
                </a:gridCol>
                <a:gridCol w="875216">
                  <a:extLst>
                    <a:ext uri="{9D8B030D-6E8A-4147-A177-3AD203B41FA5}">
                      <a16:colId xmlns:a16="http://schemas.microsoft.com/office/drawing/2014/main" val="2405495439"/>
                    </a:ext>
                  </a:extLst>
                </a:gridCol>
                <a:gridCol w="2810561">
                  <a:extLst>
                    <a:ext uri="{9D8B030D-6E8A-4147-A177-3AD203B41FA5}">
                      <a16:colId xmlns:a16="http://schemas.microsoft.com/office/drawing/2014/main" val="753412264"/>
                    </a:ext>
                  </a:extLst>
                </a:gridCol>
                <a:gridCol w="1021613">
                  <a:extLst>
                    <a:ext uri="{9D8B030D-6E8A-4147-A177-3AD203B41FA5}">
                      <a16:colId xmlns:a16="http://schemas.microsoft.com/office/drawing/2014/main" val="1368585407"/>
                    </a:ext>
                  </a:extLst>
                </a:gridCol>
                <a:gridCol w="901963">
                  <a:extLst>
                    <a:ext uri="{9D8B030D-6E8A-4147-A177-3AD203B41FA5}">
                      <a16:colId xmlns:a16="http://schemas.microsoft.com/office/drawing/2014/main" val="3173648578"/>
                    </a:ext>
                  </a:extLst>
                </a:gridCol>
                <a:gridCol w="901965">
                  <a:extLst>
                    <a:ext uri="{9D8B030D-6E8A-4147-A177-3AD203B41FA5}">
                      <a16:colId xmlns:a16="http://schemas.microsoft.com/office/drawing/2014/main" val="3520061690"/>
                    </a:ext>
                  </a:extLst>
                </a:gridCol>
                <a:gridCol w="793053">
                  <a:extLst>
                    <a:ext uri="{9D8B030D-6E8A-4147-A177-3AD203B41FA5}">
                      <a16:colId xmlns:a16="http://schemas.microsoft.com/office/drawing/2014/main" val="4283889643"/>
                    </a:ext>
                  </a:extLst>
                </a:gridCol>
              </a:tblGrid>
              <a:tr h="589228">
                <a:tc>
                  <a:txBody>
                    <a:bodyPr/>
                    <a:lstStyle/>
                    <a:p>
                      <a:pPr marL="35560" algn="l" fontAlgn="b"/>
                      <a:r>
                        <a:rPr lang="en-GB" sz="11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Gap Description</a:t>
                      </a:r>
                      <a:endParaRPr lang="en-GB" sz="11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35560" algn="l" fontAlgn="b"/>
                      <a:r>
                        <a:rPr lang="en-GB" sz="11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Related Process</a:t>
                      </a:r>
                      <a:endParaRPr lang="en-GB" sz="11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35560" algn="l" fontAlgn="b"/>
                      <a:r>
                        <a:rPr lang="en-GB" sz="11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Standard (OOB) / ISV gap</a:t>
                      </a:r>
                      <a:endParaRPr lang="en-GB" sz="11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35560" algn="l" fontAlgn="b"/>
                      <a:r>
                        <a:rPr lang="en-GB" sz="11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Solution</a:t>
                      </a:r>
                      <a:endParaRPr lang="en-GB" sz="11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35560" algn="l" fontAlgn="b"/>
                      <a:r>
                        <a:rPr lang="en-GB" sz="11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Solution Description</a:t>
                      </a:r>
                      <a:endParaRPr lang="en-GB" sz="11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35560" algn="l" fontAlgn="b"/>
                      <a:r>
                        <a:rPr lang="en-GB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POC Completed?</a:t>
                      </a:r>
                    </a:p>
                  </a:txBody>
                  <a:tcPr marL="0" marR="0" marT="0" marB="0"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35560" algn="l" fontAlgn="b"/>
                      <a:r>
                        <a:rPr lang="en-GB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Level of Effort</a:t>
                      </a:r>
                    </a:p>
                  </a:txBody>
                  <a:tcPr marL="0" marR="0" marT="0" marB="0"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35560" algn="l" fontAlgn="b"/>
                      <a:r>
                        <a:rPr lang="en-GB" sz="11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Business Impact</a:t>
                      </a:r>
                      <a:endParaRPr lang="en-GB" sz="11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35560" algn="l" fontAlgn="b"/>
                      <a:r>
                        <a:rPr lang="en-GB" sz="11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Risk</a:t>
                      </a:r>
                      <a:endParaRPr lang="en-GB" sz="11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34398620"/>
                  </a:ext>
                </a:extLst>
              </a:tr>
              <a:tr h="369910">
                <a:tc>
                  <a:txBody>
                    <a:bodyPr/>
                    <a:lstStyle/>
                    <a:p>
                      <a:pPr marL="35560" algn="l" fontAlgn="b"/>
                      <a:r>
                        <a:rPr lang="en-GB" sz="1050" u="none" strike="noStrike" dirty="0">
                          <a:solidFill>
                            <a:srgbClr val="505050"/>
                          </a:solidFill>
                          <a:effectLst/>
                        </a:rPr>
                        <a:t>Dynamics FO Example –  automation GL allocations</a:t>
                      </a:r>
                      <a:endParaRPr lang="en-GB" sz="1050" b="0" i="0" u="none" strike="noStrike" dirty="0">
                        <a:solidFill>
                          <a:srgbClr val="50505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35560" algn="l" fontAlgn="b"/>
                      <a:r>
                        <a:rPr lang="en-GB" sz="1050" u="none" strike="noStrike" dirty="0">
                          <a:solidFill>
                            <a:srgbClr val="505050"/>
                          </a:solidFill>
                          <a:effectLst/>
                        </a:rPr>
                        <a:t>Posting of project invoices</a:t>
                      </a:r>
                      <a:endParaRPr lang="en-GB" sz="1050" b="0" i="0" u="none" strike="noStrike" dirty="0">
                        <a:solidFill>
                          <a:srgbClr val="50505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35560" algn="l" fontAlgn="b"/>
                      <a:r>
                        <a:rPr lang="en-GB" sz="1050" u="none" strike="noStrike" dirty="0">
                          <a:solidFill>
                            <a:srgbClr val="505050"/>
                          </a:solidFill>
                          <a:effectLst/>
                        </a:rPr>
                        <a:t>Standard</a:t>
                      </a:r>
                      <a:endParaRPr lang="en-GB" sz="1050" b="0" i="0" u="none" strike="noStrike" dirty="0">
                        <a:solidFill>
                          <a:srgbClr val="50505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35560" algn="l" fontAlgn="b"/>
                      <a:r>
                        <a:rPr lang="en-GB" sz="1050" u="none" strike="noStrike" dirty="0">
                          <a:solidFill>
                            <a:srgbClr val="505050"/>
                          </a:solidFill>
                          <a:effectLst/>
                        </a:rPr>
                        <a:t>Extension</a:t>
                      </a:r>
                      <a:endParaRPr lang="en-GB" sz="1050" b="0" i="0" u="none" strike="noStrike" dirty="0">
                        <a:solidFill>
                          <a:srgbClr val="50505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35560" algn="l" fontAlgn="b"/>
                      <a:r>
                        <a:rPr lang="en-GB" sz="1050" u="none" strike="noStrike" dirty="0">
                          <a:solidFill>
                            <a:srgbClr val="505050"/>
                          </a:solidFill>
                          <a:effectLst/>
                        </a:rPr>
                        <a:t>To expand standard GL allocation functionality by adding parameters and a batch job</a:t>
                      </a:r>
                      <a:endParaRPr lang="en-GB" sz="1050" b="0" i="0" u="none" strike="noStrike" dirty="0">
                        <a:solidFill>
                          <a:srgbClr val="50505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35560" algn="l" fontAlgn="b"/>
                      <a:r>
                        <a:rPr lang="en-GB" sz="1050" b="0" i="0" u="none" strike="noStrike" dirty="0">
                          <a:solidFill>
                            <a:srgbClr val="505050"/>
                          </a:solidFill>
                          <a:effectLst/>
                          <a:latin typeface="+mn-lt"/>
                        </a:rPr>
                        <a:t>Yes</a:t>
                      </a: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35560" algn="l" fontAlgn="b"/>
                      <a:r>
                        <a:rPr lang="en-GB" sz="1050" b="0" i="0" u="none" strike="noStrike" dirty="0">
                          <a:solidFill>
                            <a:srgbClr val="505050"/>
                          </a:solidFill>
                          <a:effectLst/>
                          <a:latin typeface="+mn-lt"/>
                        </a:rPr>
                        <a:t>High</a:t>
                      </a: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35560" algn="l" fontAlgn="b"/>
                      <a:r>
                        <a:rPr lang="en-GB" sz="1050" b="0" i="0" u="none" strike="noStrike" dirty="0">
                          <a:solidFill>
                            <a:srgbClr val="505050"/>
                          </a:solidFill>
                          <a:effectLst/>
                          <a:latin typeface="Calibri"/>
                        </a:rPr>
                        <a:t>Medium</a:t>
                      </a: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35560" algn="l" fontAlgn="b"/>
                      <a:r>
                        <a:rPr lang="en-GB" sz="1050" u="none" strike="noStrike" dirty="0">
                          <a:solidFill>
                            <a:srgbClr val="505050"/>
                          </a:solidFill>
                          <a:effectLst/>
                        </a:rPr>
                        <a:t>Low</a:t>
                      </a:r>
                      <a:endParaRPr lang="en-GB" sz="1050" b="0" i="0" u="none" strike="noStrike" dirty="0">
                        <a:solidFill>
                          <a:srgbClr val="50505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:a16="http://schemas.microsoft.com/office/drawing/2014/main" val="2748871386"/>
                  </a:ext>
                </a:extLst>
              </a:tr>
              <a:tr h="401900">
                <a:tc>
                  <a:txBody>
                    <a:bodyPr/>
                    <a:lstStyle/>
                    <a:p>
                      <a:pPr marL="35560" algn="l" fontAlgn="b"/>
                      <a:r>
                        <a:rPr lang="en-GB" sz="1050" u="none" strike="noStrike" dirty="0">
                          <a:solidFill>
                            <a:srgbClr val="505050"/>
                          </a:solidFill>
                          <a:effectLst/>
                        </a:rPr>
                        <a:t>Dynamics FO Example 2 – integration with banking systems</a:t>
                      </a: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35560" algn="l" fontAlgn="b"/>
                      <a:r>
                        <a:rPr lang="en-GB" sz="1050" b="0" i="0" u="none" strike="noStrike" dirty="0">
                          <a:solidFill>
                            <a:srgbClr val="505050"/>
                          </a:solidFill>
                          <a:effectLst/>
                          <a:latin typeface="Calibri"/>
                        </a:rPr>
                        <a:t>Customer and vendor payments</a:t>
                      </a: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35560" algn="l" fontAlgn="b"/>
                      <a:r>
                        <a:rPr lang="en-GB" sz="1050" u="none" strike="noStrike" dirty="0">
                          <a:solidFill>
                            <a:srgbClr val="505050"/>
                          </a:solidFill>
                          <a:effectLst/>
                        </a:rPr>
                        <a:t>Standard</a:t>
                      </a:r>
                      <a:endParaRPr lang="en-GB" sz="1050" b="0" i="0" u="none" strike="noStrike" dirty="0">
                        <a:solidFill>
                          <a:srgbClr val="50505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35560" algn="l" fontAlgn="b"/>
                      <a:r>
                        <a:rPr lang="en-GB" sz="1050" u="none" strike="noStrike" dirty="0">
                          <a:solidFill>
                            <a:srgbClr val="505050"/>
                          </a:solidFill>
                          <a:effectLst/>
                        </a:rPr>
                        <a:t>ISV</a:t>
                      </a:r>
                      <a:endParaRPr lang="en-GB" sz="1050" b="0" i="0" u="none" strike="noStrike" dirty="0">
                        <a:solidFill>
                          <a:srgbClr val="50505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35560" algn="l" fontAlgn="b"/>
                      <a:r>
                        <a:rPr lang="en-GB" sz="1050" u="none" strike="noStrike" dirty="0">
                          <a:solidFill>
                            <a:srgbClr val="505050"/>
                          </a:solidFill>
                          <a:effectLst/>
                        </a:rPr>
                        <a:t>AMC Banking</a:t>
                      </a:r>
                      <a:endParaRPr lang="en-GB" sz="1050" b="0" i="0" u="none" strike="noStrike" dirty="0">
                        <a:solidFill>
                          <a:srgbClr val="50505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35560" algn="l" fontAlgn="b"/>
                      <a:r>
                        <a:rPr lang="en-GB" sz="1050" b="0" i="0" u="none" strike="noStrike" dirty="0">
                          <a:solidFill>
                            <a:srgbClr val="505050"/>
                          </a:solidFill>
                          <a:effectLst/>
                          <a:latin typeface="+mn-lt"/>
                        </a:rPr>
                        <a:t>No</a:t>
                      </a: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35560" algn="l" fontAlgn="b"/>
                      <a:r>
                        <a:rPr lang="en-GB" sz="1050" b="0" i="0" u="none" strike="noStrike" dirty="0">
                          <a:solidFill>
                            <a:srgbClr val="505050"/>
                          </a:solidFill>
                          <a:effectLst/>
                          <a:latin typeface="+mn-lt"/>
                        </a:rPr>
                        <a:t>Medium</a:t>
                      </a: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35560" algn="l" fontAlgn="b"/>
                      <a:r>
                        <a:rPr lang="en-GB" sz="1050" u="none" strike="noStrike" dirty="0">
                          <a:solidFill>
                            <a:srgbClr val="505050"/>
                          </a:solidFill>
                          <a:effectLst/>
                        </a:rPr>
                        <a:t>Medium</a:t>
                      </a:r>
                      <a:endParaRPr lang="en-GB" sz="1050" b="0" i="0" u="none" strike="noStrike" dirty="0">
                        <a:solidFill>
                          <a:srgbClr val="50505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35560" algn="l" fontAlgn="b"/>
                      <a:r>
                        <a:rPr lang="en-GB" sz="1050" u="none" strike="noStrike" dirty="0">
                          <a:solidFill>
                            <a:srgbClr val="505050"/>
                          </a:solidFill>
                          <a:effectLst/>
                        </a:rPr>
                        <a:t>Medium</a:t>
                      </a:r>
                      <a:endParaRPr lang="en-GB" sz="1050" b="0" i="0" u="none" strike="noStrike" dirty="0">
                        <a:solidFill>
                          <a:srgbClr val="50505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:a16="http://schemas.microsoft.com/office/drawing/2014/main" val="2866204318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35560" algn="l" fontAlgn="b"/>
                      <a:r>
                        <a:rPr lang="en-GB" sz="1050" u="none" strike="noStrike" dirty="0">
                          <a:solidFill>
                            <a:srgbClr val="505050"/>
                          </a:solidFill>
                          <a:effectLst/>
                        </a:rPr>
                        <a:t>Dynamics FO Example 3 – integration with Bank of China</a:t>
                      </a: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35560" algn="l" fontAlgn="b"/>
                      <a:r>
                        <a:rPr lang="en-GB" sz="1050" b="0" i="0" u="none" strike="noStrike" dirty="0">
                          <a:solidFill>
                            <a:srgbClr val="505050"/>
                          </a:solidFill>
                          <a:effectLst/>
                          <a:latin typeface="Calibri"/>
                        </a:rPr>
                        <a:t>Vendor payments in China</a:t>
                      </a: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35560" algn="l" fontAlgn="b"/>
                      <a:r>
                        <a:rPr lang="en-GB" sz="1050" u="none" strike="noStrike" dirty="0">
                          <a:solidFill>
                            <a:srgbClr val="505050"/>
                          </a:solidFill>
                          <a:effectLst/>
                        </a:rPr>
                        <a:t>ISV</a:t>
                      </a:r>
                      <a:endParaRPr lang="en-GB" sz="1050" b="0" i="0" u="none" strike="noStrike" dirty="0">
                        <a:solidFill>
                          <a:srgbClr val="50505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35560" algn="l" fontAlgn="b"/>
                      <a:r>
                        <a:rPr lang="en-GB" sz="1050" u="none" strike="noStrike" dirty="0">
                          <a:solidFill>
                            <a:srgbClr val="505050"/>
                          </a:solidFill>
                          <a:effectLst/>
                        </a:rPr>
                        <a:t>Extension</a:t>
                      </a:r>
                      <a:endParaRPr lang="en-GB" sz="1050" b="0" i="0" u="none" strike="noStrike" dirty="0">
                        <a:solidFill>
                          <a:srgbClr val="50505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35560" algn="l" fontAlgn="b"/>
                      <a:r>
                        <a:rPr lang="en-GB" sz="1050" u="none" strike="noStrike" kern="1200" dirty="0">
                          <a:solidFill>
                            <a:srgbClr val="50505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MC-Consult will extend their functionality to support required integration with Bank of China</a:t>
                      </a:r>
                      <a:endParaRPr lang="en-GB" sz="1050" b="0" i="0" u="none" strike="noStrike" dirty="0">
                        <a:solidFill>
                          <a:srgbClr val="50505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35560" algn="l" fontAlgn="b"/>
                      <a:r>
                        <a:rPr lang="en-GB" sz="1050" b="0" i="0" u="none" strike="noStrike" dirty="0">
                          <a:solidFill>
                            <a:srgbClr val="505050"/>
                          </a:solidFill>
                          <a:effectLst/>
                          <a:latin typeface="+mn-lt"/>
                        </a:rPr>
                        <a:t>Yes</a:t>
                      </a: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35560" algn="l" fontAlgn="b"/>
                      <a:r>
                        <a:rPr lang="en-GB" sz="1050" b="0" i="0" u="none" strike="noStrike" dirty="0">
                          <a:solidFill>
                            <a:srgbClr val="505050"/>
                          </a:solidFill>
                          <a:effectLst/>
                          <a:latin typeface="+mn-lt"/>
                        </a:rPr>
                        <a:t>Medium</a:t>
                      </a: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35560" algn="l" fontAlgn="b"/>
                      <a:r>
                        <a:rPr lang="en-GB" sz="1050" u="none" strike="noStrike" dirty="0">
                          <a:solidFill>
                            <a:srgbClr val="505050"/>
                          </a:solidFill>
                          <a:effectLst/>
                        </a:rPr>
                        <a:t>High</a:t>
                      </a:r>
                      <a:endParaRPr lang="en-GB" sz="1050" b="0" i="0" u="none" strike="noStrike" dirty="0">
                        <a:solidFill>
                          <a:srgbClr val="50505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35560" algn="l" fontAlgn="b"/>
                      <a:r>
                        <a:rPr lang="en-GB" sz="1050" u="none" strike="noStrike" dirty="0">
                          <a:solidFill>
                            <a:srgbClr val="505050"/>
                          </a:solidFill>
                          <a:effectLst/>
                        </a:rPr>
                        <a:t>High</a:t>
                      </a:r>
                      <a:endParaRPr lang="en-GB" sz="1050" b="0" i="0" u="none" strike="noStrike" dirty="0">
                        <a:solidFill>
                          <a:srgbClr val="50505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:a16="http://schemas.microsoft.com/office/drawing/2014/main" val="3666452339"/>
                  </a:ext>
                </a:extLst>
              </a:tr>
              <a:tr h="436593">
                <a:tc>
                  <a:txBody>
                    <a:bodyPr/>
                    <a:lstStyle/>
                    <a:p>
                      <a:pPr marL="35560" algn="l" fontAlgn="b"/>
                      <a:r>
                        <a:rPr lang="en-GB" sz="1050" u="none" strike="noStrike" dirty="0">
                          <a:solidFill>
                            <a:srgbClr val="505050"/>
                          </a:solidFill>
                          <a:effectLst/>
                        </a:rPr>
                        <a:t>Dynamics CE Example – Required field validation </a:t>
                      </a:r>
                      <a:endParaRPr lang="en-GB" sz="1050" b="0" i="0" u="none" strike="noStrike" dirty="0">
                        <a:solidFill>
                          <a:srgbClr val="50505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35560" algn="l" fontAlgn="b"/>
                      <a:r>
                        <a:rPr lang="en-GB" sz="1050" u="none" strike="noStrike" dirty="0">
                          <a:solidFill>
                            <a:srgbClr val="505050"/>
                          </a:solidFill>
                          <a:effectLst/>
                        </a:rPr>
                        <a:t>Adding a new customer table record</a:t>
                      </a:r>
                      <a:endParaRPr lang="en-GB" sz="1050" b="0" i="0" u="none" strike="noStrike" dirty="0">
                        <a:solidFill>
                          <a:srgbClr val="50505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35560" algn="l" fontAlgn="b"/>
                      <a:r>
                        <a:rPr lang="en-GB" sz="1050" u="none" strike="noStrike" dirty="0">
                          <a:solidFill>
                            <a:srgbClr val="505050"/>
                          </a:solidFill>
                          <a:effectLst/>
                        </a:rPr>
                        <a:t>Standard</a:t>
                      </a:r>
                      <a:endParaRPr lang="en-GB" sz="1050" b="0" i="0" u="none" strike="noStrike" dirty="0">
                        <a:solidFill>
                          <a:srgbClr val="50505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35560" algn="l" fontAlgn="b"/>
                      <a:r>
                        <a:rPr lang="en-GB" sz="1050" u="none" strike="noStrike" dirty="0">
                          <a:solidFill>
                            <a:srgbClr val="505050"/>
                          </a:solidFill>
                          <a:effectLst/>
                        </a:rPr>
                        <a:t>Extension</a:t>
                      </a:r>
                      <a:endParaRPr lang="en-GB" sz="1050" b="0" i="0" u="none" strike="noStrike" dirty="0">
                        <a:solidFill>
                          <a:srgbClr val="50505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35560" algn="l" fontAlgn="b"/>
                      <a:r>
                        <a:rPr lang="en-GB" sz="1050" u="none" strike="noStrike" dirty="0">
                          <a:solidFill>
                            <a:srgbClr val="505050"/>
                          </a:solidFill>
                          <a:effectLst/>
                        </a:rPr>
                        <a:t>Jscript or Plugin to validate fields on form</a:t>
                      </a:r>
                      <a:endParaRPr lang="en-GB" sz="1050" b="0" i="0" u="none" strike="noStrike" dirty="0">
                        <a:solidFill>
                          <a:srgbClr val="50505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35560" algn="l" fontAlgn="b"/>
                      <a:r>
                        <a:rPr lang="en-GB" sz="1050" b="0" i="0" u="none" strike="noStrike" dirty="0">
                          <a:solidFill>
                            <a:srgbClr val="505050"/>
                          </a:solidFill>
                          <a:effectLst/>
                          <a:latin typeface="+mn-lt"/>
                        </a:rPr>
                        <a:t>Yes</a:t>
                      </a: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35560" algn="l" fontAlgn="b"/>
                      <a:r>
                        <a:rPr lang="en-GB" sz="1050" b="0" i="0" u="none" strike="noStrike" dirty="0">
                          <a:solidFill>
                            <a:srgbClr val="505050"/>
                          </a:solidFill>
                          <a:effectLst/>
                          <a:latin typeface="+mn-lt"/>
                        </a:rPr>
                        <a:t>Medium</a:t>
                      </a: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35560" algn="l" fontAlgn="b"/>
                      <a:r>
                        <a:rPr lang="en-GB" sz="1050" u="none" strike="noStrike" dirty="0">
                          <a:solidFill>
                            <a:srgbClr val="505050"/>
                          </a:solidFill>
                          <a:effectLst/>
                        </a:rPr>
                        <a:t>High</a:t>
                      </a:r>
                      <a:endParaRPr lang="en-GB" sz="1050" b="0" i="0" u="none" strike="noStrike" dirty="0">
                        <a:solidFill>
                          <a:srgbClr val="50505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35560" algn="l" fontAlgn="b"/>
                      <a:r>
                        <a:rPr lang="en-GB" sz="1050" b="0" i="0" u="none" strike="noStrike" dirty="0">
                          <a:solidFill>
                            <a:srgbClr val="505050"/>
                          </a:solidFill>
                          <a:effectLst/>
                          <a:latin typeface="Calibri"/>
                        </a:rPr>
                        <a:t>Low</a:t>
                      </a:r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:a16="http://schemas.microsoft.com/office/drawing/2014/main" val="2292335579"/>
                  </a:ext>
                </a:extLst>
              </a:tr>
              <a:tr h="687338">
                <a:tc>
                  <a:txBody>
                    <a:bodyPr/>
                    <a:lstStyle/>
                    <a:p>
                      <a:pPr marL="35560" algn="l" fontAlgn="b"/>
                      <a:r>
                        <a:rPr lang="en-GB" sz="1050" u="none" strike="noStrike" dirty="0">
                          <a:solidFill>
                            <a:srgbClr val="505050"/>
                          </a:solidFill>
                          <a:effectLst/>
                          <a:latin typeface="+mn-lt"/>
                        </a:rPr>
                        <a:t>Dynamics CE Example 2 </a:t>
                      </a:r>
                      <a:r>
                        <a:rPr lang="en-GB" sz="1050" u="none" strike="noStrike" dirty="0">
                          <a:solidFill>
                            <a:srgbClr val="505050"/>
                          </a:solidFill>
                          <a:effectLst/>
                        </a:rPr>
                        <a:t>–</a:t>
                      </a:r>
                      <a:r>
                        <a:rPr lang="en-GB" sz="1050" u="none" strike="noStrike" dirty="0">
                          <a:solidFill>
                            <a:srgbClr val="505050"/>
                          </a:solidFill>
                          <a:effectLst/>
                          <a:latin typeface="+mn-lt"/>
                        </a:rPr>
                        <a:t> Solution for geo mapping multiple customer locations on single map</a:t>
                      </a:r>
                      <a:endParaRPr lang="en-GB" sz="1050" b="0" i="0" u="none" strike="noStrike" dirty="0">
                        <a:solidFill>
                          <a:srgbClr val="50505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35560" algn="l" fontAlgn="b"/>
                      <a:r>
                        <a:rPr lang="en-GB" sz="1050" u="none" strike="noStrike" dirty="0">
                          <a:solidFill>
                            <a:srgbClr val="505050"/>
                          </a:solidFill>
                          <a:effectLst/>
                          <a:latin typeface="+mn-lt"/>
                        </a:rPr>
                        <a:t>Support for location tracking on accounts</a:t>
                      </a:r>
                      <a:endParaRPr lang="en-GB" sz="1050" b="0" i="0" u="none" strike="noStrike" dirty="0">
                        <a:solidFill>
                          <a:srgbClr val="50505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35560" algn="l" fontAlgn="b"/>
                      <a:r>
                        <a:rPr lang="en-GB" sz="1050" b="0" i="0" u="none" strike="noStrike" dirty="0">
                          <a:solidFill>
                            <a:srgbClr val="505050"/>
                          </a:solidFill>
                          <a:effectLst/>
                          <a:latin typeface="+mn-lt"/>
                        </a:rPr>
                        <a:t>Standard</a:t>
                      </a: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35560" algn="l" fontAlgn="b"/>
                      <a:r>
                        <a:rPr lang="en-GB" sz="1050" b="0" i="0" u="none" strike="noStrike" dirty="0">
                          <a:solidFill>
                            <a:srgbClr val="505050"/>
                          </a:solidFill>
                          <a:effectLst/>
                          <a:latin typeface="+mn-lt"/>
                        </a:rPr>
                        <a:t>ISV</a:t>
                      </a: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35560" algn="l" fontAlgn="b"/>
                      <a:r>
                        <a:rPr lang="en-GB" sz="1050" b="0" i="0" u="none" strike="noStrike" dirty="0">
                          <a:solidFill>
                            <a:srgbClr val="505050"/>
                          </a:solidFill>
                          <a:effectLst/>
                          <a:latin typeface="+mn-lt"/>
                        </a:rPr>
                        <a:t>Geo mapping ISV solution</a:t>
                      </a: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35560" algn="l" fontAlgn="b"/>
                      <a:r>
                        <a:rPr lang="en-GB" sz="1050" b="0" i="0" u="none" strike="noStrike" dirty="0">
                          <a:solidFill>
                            <a:srgbClr val="505050"/>
                          </a:solidFill>
                          <a:effectLst/>
                          <a:latin typeface="+mn-lt"/>
                        </a:rPr>
                        <a:t>No</a:t>
                      </a: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35560" algn="l" fontAlgn="b"/>
                      <a:r>
                        <a:rPr lang="en-GB" sz="1050" b="0" i="0" u="none" strike="noStrike" dirty="0">
                          <a:solidFill>
                            <a:srgbClr val="505050"/>
                          </a:solidFill>
                          <a:effectLst/>
                          <a:latin typeface="+mn-lt"/>
                        </a:rPr>
                        <a:t>Medium</a:t>
                      </a: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35560" algn="l" fontAlgn="b"/>
                      <a:r>
                        <a:rPr lang="en-GB" sz="1050" b="0" i="0" u="none" strike="noStrike" dirty="0">
                          <a:solidFill>
                            <a:srgbClr val="505050"/>
                          </a:solidFill>
                          <a:effectLst/>
                          <a:latin typeface="+mn-lt"/>
                        </a:rPr>
                        <a:t>Medium</a:t>
                      </a: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35560" algn="l" fontAlgn="b"/>
                      <a:r>
                        <a:rPr lang="en-GB" sz="1050" u="none" strike="noStrike" dirty="0">
                          <a:solidFill>
                            <a:srgbClr val="505050"/>
                          </a:solidFill>
                          <a:effectLst/>
                          <a:latin typeface="+mn-lt"/>
                        </a:rPr>
                        <a:t>Low</a:t>
                      </a:r>
                      <a:endParaRPr lang="en-GB" sz="1050" b="0" i="0" u="none" strike="noStrike" dirty="0">
                        <a:solidFill>
                          <a:srgbClr val="50505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:a16="http://schemas.microsoft.com/office/drawing/2014/main" val="2590786738"/>
                  </a:ext>
                </a:extLst>
              </a:tr>
              <a:tr h="327940">
                <a:tc>
                  <a:txBody>
                    <a:bodyPr/>
                    <a:lstStyle/>
                    <a:p>
                      <a:pPr marL="35560" algn="l" fontAlgn="b"/>
                      <a:endParaRPr lang="en-GB" sz="1050" b="0" i="0" u="none" strike="noStrike" dirty="0">
                        <a:solidFill>
                          <a:srgbClr val="505050"/>
                        </a:solidFill>
                        <a:effectLst/>
                        <a:latin typeface="Segoe UI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35560" algn="l" fontAlgn="b"/>
                      <a:endParaRPr lang="en-GB" sz="1050" b="0" i="0" u="none" strike="noStrike" dirty="0">
                        <a:solidFill>
                          <a:srgbClr val="505050"/>
                        </a:solidFill>
                        <a:effectLst/>
                        <a:latin typeface="Segoe UI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35560" algn="l" fontAlgn="b"/>
                      <a:endParaRPr lang="en-GB" sz="1050" b="0" i="0" u="none" strike="noStrike" dirty="0">
                        <a:solidFill>
                          <a:srgbClr val="505050"/>
                        </a:solidFill>
                        <a:effectLst/>
                        <a:latin typeface="Segoe UI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35560" algn="l" fontAlgn="b"/>
                      <a:endParaRPr lang="en-GB" sz="1050" b="0" i="0" u="none" strike="noStrike" dirty="0">
                        <a:solidFill>
                          <a:srgbClr val="505050"/>
                        </a:solidFill>
                        <a:effectLst/>
                        <a:latin typeface="Segoe UI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35560" algn="l" fontAlgn="b"/>
                      <a:endParaRPr lang="en-GB" sz="1050" b="0" i="0" u="none" strike="noStrike" dirty="0">
                        <a:solidFill>
                          <a:srgbClr val="505050"/>
                        </a:solidFill>
                        <a:effectLst/>
                        <a:latin typeface="Segoe UI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35560" algn="l" fontAlgn="b"/>
                      <a:endParaRPr lang="en-GB" sz="1050" b="0" i="0" u="none" strike="noStrike" dirty="0">
                        <a:solidFill>
                          <a:srgbClr val="505050"/>
                        </a:solidFill>
                        <a:effectLst/>
                        <a:latin typeface="Segoe UI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35560" algn="l" fontAlgn="b"/>
                      <a:endParaRPr lang="en-GB" sz="1050" b="0" i="0" u="none" strike="noStrike" dirty="0">
                        <a:solidFill>
                          <a:srgbClr val="505050"/>
                        </a:solidFill>
                        <a:effectLst/>
                        <a:latin typeface="Segoe UI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35560" algn="l" fontAlgn="b"/>
                      <a:endParaRPr lang="en-GB" sz="1050" b="0" i="0" u="none" strike="noStrike" dirty="0">
                        <a:solidFill>
                          <a:srgbClr val="505050"/>
                        </a:solidFill>
                        <a:effectLst/>
                        <a:latin typeface="Segoe UI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35560" algn="l" fontAlgn="b"/>
                      <a:endParaRPr lang="en-GB" sz="1050" b="0" i="0" u="none" strike="noStrike" dirty="0">
                        <a:solidFill>
                          <a:srgbClr val="505050"/>
                        </a:solidFill>
                        <a:effectLst/>
                        <a:latin typeface="Segoe UI"/>
                      </a:endParaRPr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:a16="http://schemas.microsoft.com/office/drawing/2014/main" val="2653508047"/>
                  </a:ext>
                </a:extLst>
              </a:tr>
              <a:tr h="327940">
                <a:tc>
                  <a:txBody>
                    <a:bodyPr/>
                    <a:lstStyle/>
                    <a:p>
                      <a:pPr marL="35560" algn="l" fontAlgn="b"/>
                      <a:endParaRPr lang="en-GB" sz="1050" b="0" i="0" u="none" strike="noStrike" dirty="0">
                        <a:solidFill>
                          <a:srgbClr val="505050"/>
                        </a:solidFill>
                        <a:effectLst/>
                        <a:latin typeface="Segoe UI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35560" algn="l" fontAlgn="b"/>
                      <a:endParaRPr lang="en-GB" sz="1050" b="0" i="0" u="none" strike="noStrike" dirty="0">
                        <a:solidFill>
                          <a:srgbClr val="505050"/>
                        </a:solidFill>
                        <a:effectLst/>
                        <a:latin typeface="Segoe UI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35560" algn="l" fontAlgn="b"/>
                      <a:endParaRPr lang="en-GB" sz="1050" b="0" i="0" u="none" strike="noStrike" dirty="0">
                        <a:solidFill>
                          <a:srgbClr val="505050"/>
                        </a:solidFill>
                        <a:effectLst/>
                        <a:latin typeface="Segoe UI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35560" algn="l" fontAlgn="b"/>
                      <a:endParaRPr lang="en-GB" sz="1050" b="0" i="0" u="none" strike="noStrike" dirty="0">
                        <a:solidFill>
                          <a:srgbClr val="505050"/>
                        </a:solidFill>
                        <a:effectLst/>
                        <a:latin typeface="Segoe UI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35560" algn="l" fontAlgn="b"/>
                      <a:endParaRPr lang="en-GB" sz="1050" b="0" i="0" u="none" strike="noStrike" dirty="0">
                        <a:solidFill>
                          <a:srgbClr val="505050"/>
                        </a:solidFill>
                        <a:effectLst/>
                        <a:latin typeface="Segoe UI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35560" algn="l" fontAlgn="b"/>
                      <a:endParaRPr lang="en-GB" sz="1050" b="0" i="0" u="none" strike="noStrike" dirty="0">
                        <a:solidFill>
                          <a:srgbClr val="505050"/>
                        </a:solidFill>
                        <a:effectLst/>
                        <a:latin typeface="Segoe UI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35560" algn="l" fontAlgn="b"/>
                      <a:endParaRPr lang="en-GB" sz="1050" b="0" i="0" u="none" strike="noStrike" dirty="0">
                        <a:solidFill>
                          <a:srgbClr val="505050"/>
                        </a:solidFill>
                        <a:effectLst/>
                        <a:latin typeface="Segoe UI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35560" algn="l" fontAlgn="b"/>
                      <a:endParaRPr lang="en-GB" sz="1050" b="0" i="0" u="none" strike="noStrike" dirty="0">
                        <a:solidFill>
                          <a:srgbClr val="505050"/>
                        </a:solidFill>
                        <a:effectLst/>
                        <a:latin typeface="Segoe UI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35560" algn="l" fontAlgn="b"/>
                      <a:endParaRPr lang="en-GB" sz="1050" b="0" i="0" u="none" strike="noStrike" dirty="0">
                        <a:solidFill>
                          <a:srgbClr val="505050"/>
                        </a:solidFill>
                        <a:effectLst/>
                        <a:latin typeface="Segoe UI"/>
                      </a:endParaRPr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:a16="http://schemas.microsoft.com/office/drawing/2014/main" val="3027936484"/>
                  </a:ext>
                </a:extLst>
              </a:tr>
              <a:tr h="327940">
                <a:tc>
                  <a:txBody>
                    <a:bodyPr/>
                    <a:lstStyle/>
                    <a:p>
                      <a:pPr marL="35560" algn="l" fontAlgn="b"/>
                      <a:endParaRPr lang="en-GB" sz="1050" b="0" i="0" u="none" strike="noStrike" dirty="0">
                        <a:solidFill>
                          <a:srgbClr val="505050"/>
                        </a:solidFill>
                        <a:effectLst/>
                        <a:latin typeface="Segoe UI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35560" algn="l" fontAlgn="b"/>
                      <a:endParaRPr lang="en-GB" sz="1050" b="0" i="0" u="none" strike="noStrike" dirty="0">
                        <a:solidFill>
                          <a:srgbClr val="505050"/>
                        </a:solidFill>
                        <a:effectLst/>
                        <a:latin typeface="Segoe UI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35560" algn="l" fontAlgn="b"/>
                      <a:endParaRPr lang="en-GB" sz="1050" b="0" i="0" u="none" strike="noStrike" dirty="0">
                        <a:solidFill>
                          <a:srgbClr val="505050"/>
                        </a:solidFill>
                        <a:effectLst/>
                        <a:latin typeface="Segoe UI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35560" algn="l" fontAlgn="b"/>
                      <a:endParaRPr lang="en-GB" sz="1050" b="0" i="0" u="none" strike="noStrike" dirty="0">
                        <a:solidFill>
                          <a:srgbClr val="505050"/>
                        </a:solidFill>
                        <a:effectLst/>
                        <a:latin typeface="Segoe UI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35560" algn="l" fontAlgn="b"/>
                      <a:endParaRPr lang="en-GB" sz="1050" b="0" i="0" u="none" strike="noStrike" dirty="0">
                        <a:solidFill>
                          <a:srgbClr val="505050"/>
                        </a:solidFill>
                        <a:effectLst/>
                        <a:latin typeface="Segoe UI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35560" algn="l" fontAlgn="b"/>
                      <a:endParaRPr lang="en-GB" sz="1050" b="0" i="0" u="none" strike="noStrike" dirty="0">
                        <a:solidFill>
                          <a:srgbClr val="505050"/>
                        </a:solidFill>
                        <a:effectLst/>
                        <a:latin typeface="Segoe UI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35560" algn="l" fontAlgn="b"/>
                      <a:endParaRPr lang="en-GB" sz="1050" b="0" i="0" u="none" strike="noStrike" dirty="0">
                        <a:solidFill>
                          <a:srgbClr val="505050"/>
                        </a:solidFill>
                        <a:effectLst/>
                        <a:latin typeface="Segoe UI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35560" algn="l" fontAlgn="b"/>
                      <a:endParaRPr lang="en-GB" sz="1050" b="0" i="0" u="none" strike="noStrike" dirty="0">
                        <a:solidFill>
                          <a:srgbClr val="505050"/>
                        </a:solidFill>
                        <a:effectLst/>
                        <a:latin typeface="Segoe UI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35560" algn="l" fontAlgn="b"/>
                      <a:endParaRPr lang="en-GB" sz="1050" b="0" i="0" u="none" strike="noStrike" dirty="0">
                        <a:solidFill>
                          <a:srgbClr val="505050"/>
                        </a:solidFill>
                        <a:effectLst/>
                        <a:latin typeface="Segoe UI"/>
                      </a:endParaRPr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:a16="http://schemas.microsoft.com/office/drawing/2014/main" val="3432238428"/>
                  </a:ext>
                </a:extLst>
              </a:tr>
            </a:tbl>
          </a:graphicData>
        </a:graphic>
      </p:graphicFrame>
      <p:sp>
        <p:nvSpPr>
          <p:cNvPr id="5" name="TextBox 4">
            <a:extLst>
              <a:ext uri="{FF2B5EF4-FFF2-40B4-BE49-F238E27FC236}">
                <a16:creationId xmlns:a16="http://schemas.microsoft.com/office/drawing/2014/main" id="{DE90AA16-4FC3-4506-836C-0A36A9087C41}"/>
              </a:ext>
            </a:extLst>
          </p:cNvPr>
          <p:cNvSpPr txBox="1"/>
          <p:nvPr/>
        </p:nvSpPr>
        <p:spPr>
          <a:xfrm>
            <a:off x="144624" y="5991808"/>
            <a:ext cx="4274974" cy="517065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160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cs typeface="Segoe UI"/>
              </a:rPr>
              <a:t>*Replace examples above</a:t>
            </a:r>
          </a:p>
        </p:txBody>
      </p:sp>
    </p:spTree>
    <p:extLst>
      <p:ext uri="{BB962C8B-B14F-4D97-AF65-F5344CB8AC3E}">
        <p14:creationId xmlns:p14="http://schemas.microsoft.com/office/powerpoint/2010/main" val="23450680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5010FE8-BF09-4146-B084-66CB05B66FD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9240" y="289511"/>
            <a:ext cx="11655840" cy="880190"/>
          </a:xfrm>
        </p:spPr>
        <p:txBody>
          <a:bodyPr/>
          <a:lstStyle/>
          <a:p>
            <a:r>
              <a:rPr lang="en-GB" sz="4000" dirty="0">
                <a:solidFill>
                  <a:schemeClr val="tx1"/>
                </a:solidFill>
              </a:rPr>
              <a:t>Gap ##: Title of the gap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72837305-2ABA-4EB3-8826-E9F09C5A91A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390071" y="1031277"/>
            <a:ext cx="11277600" cy="0"/>
          </a:xfrm>
          <a:prstGeom prst="line">
            <a:avLst/>
          </a:prstGeom>
          <a:noFill/>
          <a:ln w="3175">
            <a:solidFill>
              <a:schemeClr val="bg1">
                <a:lumMod val="85000"/>
              </a:schemeClr>
            </a:solidFill>
            <a:prstDash val="dash"/>
          </a:ln>
        </p:spPr>
      </p:cxnSp>
      <p:sp>
        <p:nvSpPr>
          <p:cNvPr id="52" name="Rectangle 51">
            <a:extLst>
              <a:ext uri="{FF2B5EF4-FFF2-40B4-BE49-F238E27FC236}">
                <a16:creationId xmlns:a16="http://schemas.microsoft.com/office/drawing/2014/main" id="{F23E2C28-CB8E-4744-9410-C2E970FCFB05}"/>
              </a:ext>
            </a:extLst>
          </p:cNvPr>
          <p:cNvSpPr/>
          <p:nvPr/>
        </p:nvSpPr>
        <p:spPr>
          <a:xfrm>
            <a:off x="8392668" y="0"/>
            <a:ext cx="3799332" cy="443365"/>
          </a:xfrm>
          <a:prstGeom prst="rect">
            <a:avLst/>
          </a:prstGeom>
          <a:solidFill>
            <a:schemeClr val="tx2"/>
          </a:solidFill>
          <a:ln w="31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defTabSz="932597">
              <a:defRPr/>
            </a:pPr>
            <a:r>
              <a:rPr lang="en-US" sz="2000">
                <a:solidFill>
                  <a:srgbClr val="FFC000"/>
                </a:solidFill>
                <a:latin typeface="+mj-lt"/>
              </a:rPr>
              <a:t>Customer slide (please update)</a:t>
            </a:r>
            <a:endParaRPr lang="en-US" sz="2000">
              <a:solidFill>
                <a:srgbClr val="FFC000"/>
              </a:solidFill>
              <a:latin typeface="+mj-lt"/>
              <a:cs typeface="Segoe UI Semibold"/>
            </a:endParaRP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F1AFCA7D-63E7-417D-998B-342F71F36AD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390071" y="1197183"/>
            <a:ext cx="3446254" cy="5371305"/>
            <a:chOff x="968040" y="1202681"/>
            <a:chExt cx="4923802" cy="2627447"/>
          </a:xfrm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4227308A-4FE9-4C05-BB5D-16C9B8CF8C09}"/>
                </a:ext>
              </a:extLst>
            </p:cNvPr>
            <p:cNvSpPr/>
            <p:nvPr/>
          </p:nvSpPr>
          <p:spPr>
            <a:xfrm>
              <a:off x="968040" y="1618207"/>
              <a:ext cx="4923802" cy="2211921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91440" rtlCol="0" anchor="t"/>
            <a:lstStyle/>
            <a:p>
              <a:pPr algn="ctr"/>
              <a:r>
                <a:rPr lang="en-US" sz="1400">
                  <a:solidFill>
                    <a:schemeClr val="tx1"/>
                  </a:solidFill>
                </a:rPr>
                <a:t>Example 1: we need report taxes to multiple authorities</a:t>
              </a:r>
            </a:p>
          </p:txBody>
        </p:sp>
        <p:sp>
          <p:nvSpPr>
            <p:cNvPr id="5" name="TextBox 4">
              <a:extLst>
                <a:ext uri="{FF2B5EF4-FFF2-40B4-BE49-F238E27FC236}">
                  <a16:creationId xmlns:a16="http://schemas.microsoft.com/office/drawing/2014/main" id="{E5DC63EE-DBB0-49B8-A6C8-6875675C302B}"/>
                </a:ext>
              </a:extLst>
            </p:cNvPr>
            <p:cNvSpPr txBox="1"/>
            <p:nvPr/>
          </p:nvSpPr>
          <p:spPr>
            <a:xfrm>
              <a:off x="968040" y="1202681"/>
              <a:ext cx="4923802" cy="415526"/>
            </a:xfrm>
            <a:prstGeom prst="rect">
              <a:avLst/>
            </a:prstGeom>
            <a:solidFill>
              <a:schemeClr val="accent4">
                <a:lumMod val="20000"/>
                <a:lumOff val="80000"/>
              </a:schemeClr>
            </a:solidFill>
          </p:spPr>
          <p:txBody>
            <a:bodyPr wrap="square" lIns="182880" tIns="146304" rIns="182880" bIns="146304" rtlCol="0" anchor="t">
              <a:spAutoFit/>
            </a:bodyPr>
            <a:lstStyle/>
            <a:p>
              <a:pPr algn="ctr"/>
              <a:r>
                <a:rPr lang="en-US" b="1"/>
                <a:t>Add business requirement and process information</a:t>
              </a:r>
              <a:endParaRPr lang="en-US" sz="2000" b="1"/>
            </a:p>
          </p:txBody>
        </p:sp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9DF4793B-AFEC-46EE-9F44-A21420608D6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8111904" y="1185131"/>
            <a:ext cx="3920151" cy="2243869"/>
            <a:chOff x="968040" y="3880783"/>
            <a:chExt cx="4923802" cy="2635551"/>
          </a:xfrm>
        </p:grpSpPr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AD877597-C58A-4F11-971F-738C8C342DDF}"/>
                </a:ext>
              </a:extLst>
            </p:cNvPr>
            <p:cNvSpPr/>
            <p:nvPr/>
          </p:nvSpPr>
          <p:spPr>
            <a:xfrm>
              <a:off x="968040" y="4536651"/>
              <a:ext cx="4923802" cy="1979683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91440" rtlCol="0" anchor="t"/>
            <a:lstStyle/>
            <a:p>
              <a:pPr algn="ctr"/>
              <a:r>
                <a:rPr lang="en-US" sz="1200">
                  <a:solidFill>
                    <a:schemeClr val="tx1"/>
                  </a:solidFill>
                </a:rPr>
                <a:t>Dependency on other solution components?</a:t>
              </a:r>
            </a:p>
            <a:p>
              <a:pPr algn="ctr"/>
              <a:r>
                <a:rPr lang="en-US" sz="1200">
                  <a:solidFill>
                    <a:schemeClr val="tx1"/>
                  </a:solidFill>
                </a:rPr>
                <a:t>Performance impacts?</a:t>
              </a:r>
            </a:p>
            <a:p>
              <a:pPr algn="ctr"/>
              <a:r>
                <a:rPr lang="en-US" sz="1200">
                  <a:solidFill>
                    <a:schemeClr val="tx1"/>
                  </a:solidFill>
                </a:rPr>
                <a:t>Added complexity to the business process?</a:t>
              </a:r>
            </a:p>
            <a:p>
              <a:pPr algn="ctr"/>
              <a:r>
                <a:rPr lang="en-US" sz="1200">
                  <a:solidFill>
                    <a:schemeClr val="tx1"/>
                  </a:solidFill>
                </a:rPr>
                <a:t>Storage impacts?</a:t>
              </a:r>
            </a:p>
          </p:txBody>
        </p:sp>
        <p:sp>
          <p:nvSpPr>
            <p:cNvPr id="31" name="TextBox 30">
              <a:extLst>
                <a:ext uri="{FF2B5EF4-FFF2-40B4-BE49-F238E27FC236}">
                  <a16:creationId xmlns:a16="http://schemas.microsoft.com/office/drawing/2014/main" id="{A09AA2CA-4C58-4921-95C0-FB68D16FB9B7}"/>
                </a:ext>
              </a:extLst>
            </p:cNvPr>
            <p:cNvSpPr txBox="1"/>
            <p:nvPr/>
          </p:nvSpPr>
          <p:spPr>
            <a:xfrm>
              <a:off x="968040" y="3880783"/>
              <a:ext cx="4923802" cy="658284"/>
            </a:xfrm>
            <a:prstGeom prst="rect">
              <a:avLst/>
            </a:prstGeom>
            <a:solidFill>
              <a:schemeClr val="accent4">
                <a:lumMod val="20000"/>
                <a:lumOff val="80000"/>
              </a:schemeClr>
            </a:solidFill>
          </p:spPr>
          <p:txBody>
            <a:bodyPr wrap="square" lIns="182880" tIns="146304" rIns="182880" bIns="146304" rtlCol="0" anchor="t">
              <a:spAutoFit/>
            </a:bodyPr>
            <a:lstStyle/>
            <a:p>
              <a:pPr algn="ctr"/>
              <a:r>
                <a:rPr lang="en-US" b="1">
                  <a:solidFill>
                    <a:schemeClr val="tx1"/>
                  </a:solidFill>
                </a:rPr>
                <a:t>Risk considerations</a:t>
              </a:r>
              <a:endParaRPr lang="ru-RU" sz="2000" b="1">
                <a:solidFill>
                  <a:schemeClr val="tx1"/>
                </a:solidFill>
              </a:endParaRPr>
            </a:p>
          </p:txBody>
        </p:sp>
      </p:grpSp>
      <p:grpSp>
        <p:nvGrpSpPr>
          <p:cNvPr id="11" name="Group 10">
            <a:extLst>
              <a:ext uri="{FF2B5EF4-FFF2-40B4-BE49-F238E27FC236}">
                <a16:creationId xmlns:a16="http://schemas.microsoft.com/office/drawing/2014/main" id="{6504A98E-E14A-459E-A6D7-D40EC085CB9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4152622" y="1169700"/>
            <a:ext cx="3692361" cy="5398788"/>
            <a:chOff x="6810998" y="1202681"/>
            <a:chExt cx="4923802" cy="5313647"/>
          </a:xfrm>
        </p:grpSpPr>
        <p:sp>
          <p:nvSpPr>
            <p:cNvPr id="46" name="Rectangle 45">
              <a:extLst>
                <a:ext uri="{FF2B5EF4-FFF2-40B4-BE49-F238E27FC236}">
                  <a16:creationId xmlns:a16="http://schemas.microsoft.com/office/drawing/2014/main" id="{423E3344-0D3E-40C6-A30D-D9146C16FFD2}"/>
                </a:ext>
              </a:extLst>
            </p:cNvPr>
            <p:cNvSpPr/>
            <p:nvPr/>
          </p:nvSpPr>
          <p:spPr>
            <a:xfrm>
              <a:off x="6810998" y="2129626"/>
              <a:ext cx="4923802" cy="4386702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91440" rIns="91440" bIns="45720" rtlCol="0" anchor="t"/>
            <a:lstStyle/>
            <a:p>
              <a:pPr algn="ctr"/>
              <a:r>
                <a:rPr lang="en-US" sz="1400">
                  <a:solidFill>
                    <a:schemeClr val="tx1"/>
                  </a:solidFill>
                </a:rPr>
                <a:t>Please update with information on the approach that is planned to fill this gap</a:t>
              </a:r>
              <a:endParaRPr lang="en-US" sz="1400">
                <a:solidFill>
                  <a:schemeClr val="tx1"/>
                </a:solidFill>
                <a:cs typeface="Segoe UI"/>
              </a:endParaRPr>
            </a:p>
          </p:txBody>
        </p:sp>
        <p:sp>
          <p:nvSpPr>
            <p:cNvPr id="33" name="TextBox 32">
              <a:extLst>
                <a:ext uri="{FF2B5EF4-FFF2-40B4-BE49-F238E27FC236}">
                  <a16:creationId xmlns:a16="http://schemas.microsoft.com/office/drawing/2014/main" id="{F0C1CE1F-5742-4079-A4DA-DA19F30BA6F7}"/>
                </a:ext>
              </a:extLst>
            </p:cNvPr>
            <p:cNvSpPr txBox="1"/>
            <p:nvPr/>
          </p:nvSpPr>
          <p:spPr>
            <a:xfrm>
              <a:off x="6810998" y="1202681"/>
              <a:ext cx="4923802" cy="926944"/>
            </a:xfrm>
            <a:prstGeom prst="rect">
              <a:avLst/>
            </a:prstGeom>
            <a:solidFill>
              <a:schemeClr val="accent4">
                <a:lumMod val="20000"/>
                <a:lumOff val="80000"/>
              </a:schemeClr>
            </a:solidFill>
          </p:spPr>
          <p:txBody>
            <a:bodyPr wrap="square" lIns="182880" tIns="146304" rIns="182880" bIns="146304" rtlCol="0" anchor="t">
              <a:spAutoFit/>
            </a:bodyPr>
            <a:lstStyle/>
            <a:p>
              <a:pPr algn="ctr"/>
              <a:r>
                <a:rPr lang="en-US" sz="2000" b="1"/>
                <a:t>Solution details</a:t>
              </a:r>
            </a:p>
            <a:p>
              <a:pPr algn="ctr"/>
              <a:r>
                <a:rPr lang="en-US" sz="1100" b="1">
                  <a:solidFill>
                    <a:schemeClr val="tx1"/>
                  </a:solidFill>
                  <a:cs typeface="Segoe UI"/>
                </a:rPr>
                <a:t>Note: </a:t>
              </a:r>
              <a:r>
                <a:rPr lang="en-US" sz="1100">
                  <a:solidFill>
                    <a:schemeClr val="tx1"/>
                  </a:solidFill>
                  <a:cs typeface="Segoe UI"/>
                </a:rPr>
                <a:t>If Standard/OOB option is available, please include details on why this wasn't selected</a:t>
              </a:r>
            </a:p>
          </p:txBody>
        </p:sp>
      </p:grpSp>
      <p:sp>
        <p:nvSpPr>
          <p:cNvPr id="15" name="Rectangle 14">
            <a:extLst>
              <a:ext uri="{FF2B5EF4-FFF2-40B4-BE49-F238E27FC236}">
                <a16:creationId xmlns:a16="http://schemas.microsoft.com/office/drawing/2014/main" id="{4D635081-5C14-4453-98A4-27FF3E58A236}"/>
              </a:ext>
            </a:extLst>
          </p:cNvPr>
          <p:cNvSpPr/>
          <p:nvPr/>
        </p:nvSpPr>
        <p:spPr>
          <a:xfrm>
            <a:off x="8111904" y="4467020"/>
            <a:ext cx="3920151" cy="210146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91440" rtlCol="0" anchor="t"/>
          <a:lstStyle/>
          <a:p>
            <a:pPr algn="ctr"/>
            <a:r>
              <a:rPr lang="en-US" sz="1200">
                <a:solidFill>
                  <a:schemeClr val="tx1"/>
                </a:solidFill>
              </a:rPr>
              <a:t>Please include details of other options that were considered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B42DDD8B-A225-4AEC-B7E5-73014FBF653C}"/>
              </a:ext>
            </a:extLst>
          </p:cNvPr>
          <p:cNvSpPr txBox="1"/>
          <p:nvPr/>
        </p:nvSpPr>
        <p:spPr>
          <a:xfrm>
            <a:off x="8111903" y="3617557"/>
            <a:ext cx="3920151" cy="849463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wrap="square" lIns="182880" tIns="146304" rIns="182880" bIns="146304" rtlCol="0">
            <a:spAutoFit/>
          </a:bodyPr>
          <a:lstStyle/>
          <a:p>
            <a:pPr algn="ctr"/>
            <a:r>
              <a:rPr lang="en-US" b="1">
                <a:solidFill>
                  <a:schemeClr val="tx1"/>
                </a:solidFill>
              </a:rPr>
              <a:t>What other options were considered?</a:t>
            </a:r>
            <a:endParaRPr lang="en-US" sz="2000" b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562166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5010FE8-BF09-4146-B084-66CB05B66FD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9240" y="289511"/>
            <a:ext cx="11655840" cy="880190"/>
          </a:xfrm>
        </p:spPr>
        <p:txBody>
          <a:bodyPr/>
          <a:lstStyle/>
          <a:p>
            <a:r>
              <a:rPr lang="en-GB" sz="4000" dirty="0">
                <a:solidFill>
                  <a:schemeClr val="tx1"/>
                </a:solidFill>
                <a:cs typeface="Segoe UI"/>
              </a:rPr>
              <a:t>Gap ##: Title of the gap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72837305-2ABA-4EB3-8826-E9F09C5A91A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390071" y="1031277"/>
            <a:ext cx="11277600" cy="0"/>
          </a:xfrm>
          <a:prstGeom prst="line">
            <a:avLst/>
          </a:prstGeom>
          <a:noFill/>
          <a:ln w="3175">
            <a:solidFill>
              <a:schemeClr val="bg1">
                <a:lumMod val="85000"/>
              </a:schemeClr>
            </a:solidFill>
            <a:prstDash val="dash"/>
          </a:ln>
        </p:spPr>
      </p:cxnSp>
      <p:sp>
        <p:nvSpPr>
          <p:cNvPr id="52" name="Rectangle 51">
            <a:extLst>
              <a:ext uri="{FF2B5EF4-FFF2-40B4-BE49-F238E27FC236}">
                <a16:creationId xmlns:a16="http://schemas.microsoft.com/office/drawing/2014/main" id="{F23E2C28-CB8E-4744-9410-C2E970FCFB05}"/>
              </a:ext>
            </a:extLst>
          </p:cNvPr>
          <p:cNvSpPr/>
          <p:nvPr/>
        </p:nvSpPr>
        <p:spPr>
          <a:xfrm>
            <a:off x="8392668" y="0"/>
            <a:ext cx="3799332" cy="443365"/>
          </a:xfrm>
          <a:prstGeom prst="rect">
            <a:avLst/>
          </a:prstGeom>
          <a:solidFill>
            <a:schemeClr val="tx2"/>
          </a:solidFill>
          <a:ln w="31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defTabSz="932597">
              <a:defRPr/>
            </a:pPr>
            <a:r>
              <a:rPr lang="en-US" sz="2000">
                <a:solidFill>
                  <a:srgbClr val="FFC000"/>
                </a:solidFill>
                <a:latin typeface="+mj-lt"/>
              </a:rPr>
              <a:t>Customer slide (please update)</a:t>
            </a:r>
            <a:endParaRPr lang="en-US" sz="2000">
              <a:solidFill>
                <a:srgbClr val="FFC000"/>
              </a:solidFill>
              <a:latin typeface="+mj-lt"/>
              <a:cs typeface="Segoe UI Semibold"/>
            </a:endParaRP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F1AFCA7D-63E7-417D-998B-342F71F36AD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390071" y="1197183"/>
            <a:ext cx="3446254" cy="5371305"/>
            <a:chOff x="968040" y="1202681"/>
            <a:chExt cx="4923802" cy="2627447"/>
          </a:xfrm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4227308A-4FE9-4C05-BB5D-16C9B8CF8C09}"/>
                </a:ext>
              </a:extLst>
            </p:cNvPr>
            <p:cNvSpPr/>
            <p:nvPr/>
          </p:nvSpPr>
          <p:spPr>
            <a:xfrm>
              <a:off x="968040" y="1618207"/>
              <a:ext cx="4923802" cy="2211921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91440" rIns="91440" bIns="45720" rtlCol="0" anchor="t"/>
            <a:lstStyle/>
            <a:p>
              <a:pPr algn="ctr"/>
              <a:r>
                <a:rPr lang="en-US" sz="1400">
                  <a:solidFill>
                    <a:schemeClr val="tx1"/>
                  </a:solidFill>
                </a:rPr>
                <a:t>Example 1: we need report taxes to multiple authorities</a:t>
              </a:r>
            </a:p>
          </p:txBody>
        </p:sp>
        <p:sp>
          <p:nvSpPr>
            <p:cNvPr id="5" name="TextBox 4">
              <a:extLst>
                <a:ext uri="{FF2B5EF4-FFF2-40B4-BE49-F238E27FC236}">
                  <a16:creationId xmlns:a16="http://schemas.microsoft.com/office/drawing/2014/main" id="{E5DC63EE-DBB0-49B8-A6C8-6875675C302B}"/>
                </a:ext>
              </a:extLst>
            </p:cNvPr>
            <p:cNvSpPr txBox="1"/>
            <p:nvPr/>
          </p:nvSpPr>
          <p:spPr>
            <a:xfrm>
              <a:off x="968040" y="1202681"/>
              <a:ext cx="4923802" cy="415526"/>
            </a:xfrm>
            <a:prstGeom prst="rect">
              <a:avLst/>
            </a:prstGeom>
            <a:solidFill>
              <a:schemeClr val="accent4">
                <a:lumMod val="20000"/>
                <a:lumOff val="80000"/>
              </a:schemeClr>
            </a:solidFill>
          </p:spPr>
          <p:txBody>
            <a:bodyPr wrap="square" lIns="182880" tIns="146304" rIns="182880" bIns="146304" rtlCol="0" anchor="t">
              <a:spAutoFit/>
            </a:bodyPr>
            <a:lstStyle/>
            <a:p>
              <a:pPr algn="ctr"/>
              <a:r>
                <a:rPr lang="en-US" b="1"/>
                <a:t>Add business requirement and process information</a:t>
              </a:r>
              <a:endParaRPr lang="en-US" sz="2000" b="1"/>
            </a:p>
          </p:txBody>
        </p:sp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9DF4793B-AFEC-46EE-9F44-A21420608D6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8111904" y="1185131"/>
            <a:ext cx="3920151" cy="2243869"/>
            <a:chOff x="968040" y="3880783"/>
            <a:chExt cx="4923802" cy="2635551"/>
          </a:xfrm>
        </p:grpSpPr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AD877597-C58A-4F11-971F-738C8C342DDF}"/>
                </a:ext>
              </a:extLst>
            </p:cNvPr>
            <p:cNvSpPr/>
            <p:nvPr/>
          </p:nvSpPr>
          <p:spPr>
            <a:xfrm>
              <a:off x="968040" y="4536651"/>
              <a:ext cx="4923802" cy="1979683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91440" rIns="91440" bIns="45720" rtlCol="0" anchor="t"/>
            <a:lstStyle/>
            <a:p>
              <a:pPr algn="ctr"/>
              <a:r>
                <a:rPr lang="en-US" sz="1200">
                  <a:solidFill>
                    <a:schemeClr val="tx1"/>
                  </a:solidFill>
                </a:rPr>
                <a:t>Dependency on other solution components?</a:t>
              </a:r>
              <a:endParaRPr lang="en-US" sz="1200">
                <a:solidFill>
                  <a:schemeClr val="tx1"/>
                </a:solidFill>
                <a:cs typeface="Segoe UI"/>
              </a:endParaRPr>
            </a:p>
            <a:p>
              <a:pPr algn="ctr"/>
              <a:r>
                <a:rPr lang="en-US" sz="1200">
                  <a:solidFill>
                    <a:schemeClr val="tx1"/>
                  </a:solidFill>
                </a:rPr>
                <a:t>Performance impacts?</a:t>
              </a:r>
              <a:endParaRPr lang="en-US" sz="1200">
                <a:solidFill>
                  <a:schemeClr val="tx1"/>
                </a:solidFill>
                <a:cs typeface="Segoe UI"/>
              </a:endParaRPr>
            </a:p>
            <a:p>
              <a:pPr algn="ctr"/>
              <a:r>
                <a:rPr lang="en-US" sz="1200">
                  <a:solidFill>
                    <a:schemeClr val="tx1"/>
                  </a:solidFill>
                </a:rPr>
                <a:t>Added complexity to the business process?</a:t>
              </a:r>
              <a:endParaRPr lang="en-US" sz="1200">
                <a:solidFill>
                  <a:schemeClr val="tx1"/>
                </a:solidFill>
                <a:cs typeface="Segoe UI"/>
              </a:endParaRPr>
            </a:p>
            <a:p>
              <a:pPr algn="ctr"/>
              <a:r>
                <a:rPr lang="en-US" sz="1200">
                  <a:solidFill>
                    <a:schemeClr val="tx1"/>
                  </a:solidFill>
                </a:rPr>
                <a:t>Storage impacts?</a:t>
              </a:r>
              <a:endParaRPr lang="en-US" sz="1200">
                <a:solidFill>
                  <a:schemeClr val="tx1"/>
                </a:solidFill>
                <a:cs typeface="Segoe UI"/>
              </a:endParaRPr>
            </a:p>
          </p:txBody>
        </p:sp>
        <p:sp>
          <p:nvSpPr>
            <p:cNvPr id="31" name="TextBox 30">
              <a:extLst>
                <a:ext uri="{FF2B5EF4-FFF2-40B4-BE49-F238E27FC236}">
                  <a16:creationId xmlns:a16="http://schemas.microsoft.com/office/drawing/2014/main" id="{A09AA2CA-4C58-4921-95C0-FB68D16FB9B7}"/>
                </a:ext>
              </a:extLst>
            </p:cNvPr>
            <p:cNvSpPr txBox="1"/>
            <p:nvPr/>
          </p:nvSpPr>
          <p:spPr>
            <a:xfrm>
              <a:off x="968040" y="3880783"/>
              <a:ext cx="4923802" cy="658284"/>
            </a:xfrm>
            <a:prstGeom prst="rect">
              <a:avLst/>
            </a:prstGeom>
            <a:solidFill>
              <a:schemeClr val="accent4">
                <a:lumMod val="20000"/>
                <a:lumOff val="80000"/>
              </a:schemeClr>
            </a:solidFill>
          </p:spPr>
          <p:txBody>
            <a:bodyPr wrap="square" lIns="182880" tIns="146304" rIns="182880" bIns="146304" rtlCol="0" anchor="t">
              <a:spAutoFit/>
            </a:bodyPr>
            <a:lstStyle/>
            <a:p>
              <a:pPr algn="ctr"/>
              <a:r>
                <a:rPr lang="en-US" b="1">
                  <a:solidFill>
                    <a:schemeClr val="tx1"/>
                  </a:solidFill>
                </a:rPr>
                <a:t>Risk considerations</a:t>
              </a:r>
              <a:endParaRPr lang="ru-RU" sz="2000" b="1">
                <a:solidFill>
                  <a:schemeClr val="tx1"/>
                </a:solidFill>
              </a:endParaRPr>
            </a:p>
          </p:txBody>
        </p:sp>
      </p:grpSp>
      <p:grpSp>
        <p:nvGrpSpPr>
          <p:cNvPr id="11" name="Group 10">
            <a:extLst>
              <a:ext uri="{FF2B5EF4-FFF2-40B4-BE49-F238E27FC236}">
                <a16:creationId xmlns:a16="http://schemas.microsoft.com/office/drawing/2014/main" id="{6504A98E-E14A-459E-A6D7-D40EC085CB9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4152622" y="1169700"/>
            <a:ext cx="3692361" cy="5398786"/>
            <a:chOff x="6810998" y="1202681"/>
            <a:chExt cx="4923802" cy="5313646"/>
          </a:xfrm>
        </p:grpSpPr>
        <p:sp>
          <p:nvSpPr>
            <p:cNvPr id="46" name="Rectangle 45">
              <a:extLst>
                <a:ext uri="{FF2B5EF4-FFF2-40B4-BE49-F238E27FC236}">
                  <a16:creationId xmlns:a16="http://schemas.microsoft.com/office/drawing/2014/main" id="{423E3344-0D3E-40C6-A30D-D9146C16FFD2}"/>
                </a:ext>
              </a:extLst>
            </p:cNvPr>
            <p:cNvSpPr/>
            <p:nvPr/>
          </p:nvSpPr>
          <p:spPr>
            <a:xfrm>
              <a:off x="6810998" y="2129625"/>
              <a:ext cx="4923802" cy="4386702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91440" rIns="91440" bIns="45720" rtlCol="0" anchor="t"/>
            <a:lstStyle/>
            <a:p>
              <a:pPr algn="ctr"/>
              <a:r>
                <a:rPr lang="en-US" sz="1400">
                  <a:solidFill>
                    <a:schemeClr val="tx1"/>
                  </a:solidFill>
                </a:rPr>
                <a:t>Please update with information on the approach that is planned to fill this gap</a:t>
              </a:r>
              <a:endParaRPr lang="en-US" sz="1400">
                <a:solidFill>
                  <a:schemeClr val="tx1"/>
                </a:solidFill>
                <a:cs typeface="Segoe UI"/>
              </a:endParaRPr>
            </a:p>
          </p:txBody>
        </p:sp>
        <p:sp>
          <p:nvSpPr>
            <p:cNvPr id="33" name="TextBox 32">
              <a:extLst>
                <a:ext uri="{FF2B5EF4-FFF2-40B4-BE49-F238E27FC236}">
                  <a16:creationId xmlns:a16="http://schemas.microsoft.com/office/drawing/2014/main" id="{F0C1CE1F-5742-4079-A4DA-DA19F30BA6F7}"/>
                </a:ext>
              </a:extLst>
            </p:cNvPr>
            <p:cNvSpPr txBox="1"/>
            <p:nvPr/>
          </p:nvSpPr>
          <p:spPr>
            <a:xfrm>
              <a:off x="6810998" y="1202681"/>
              <a:ext cx="4923802" cy="926944"/>
            </a:xfrm>
            <a:prstGeom prst="rect">
              <a:avLst/>
            </a:prstGeom>
            <a:solidFill>
              <a:schemeClr val="accent4">
                <a:lumMod val="20000"/>
                <a:lumOff val="80000"/>
              </a:schemeClr>
            </a:solidFill>
          </p:spPr>
          <p:txBody>
            <a:bodyPr wrap="square" lIns="182880" tIns="146304" rIns="182880" bIns="146304" rtlCol="0" anchor="t">
              <a:spAutoFit/>
            </a:bodyPr>
            <a:lstStyle/>
            <a:p>
              <a:pPr algn="ctr"/>
              <a:r>
                <a:rPr lang="en-US" sz="2000" b="1"/>
                <a:t>Solution details</a:t>
              </a:r>
            </a:p>
            <a:p>
              <a:pPr algn="ctr"/>
              <a:r>
                <a:rPr lang="en-US" sz="1100" b="1">
                  <a:solidFill>
                    <a:schemeClr val="tx1"/>
                  </a:solidFill>
                  <a:cs typeface="Segoe UI"/>
                </a:rPr>
                <a:t>Note: </a:t>
              </a:r>
              <a:r>
                <a:rPr lang="en-US" sz="1100">
                  <a:solidFill>
                    <a:schemeClr val="tx1"/>
                  </a:solidFill>
                  <a:cs typeface="Segoe UI"/>
                </a:rPr>
                <a:t>If Standard/OOB option is available, please include details on why this wasn't selected</a:t>
              </a:r>
            </a:p>
          </p:txBody>
        </p:sp>
      </p:grpSp>
      <p:sp>
        <p:nvSpPr>
          <p:cNvPr id="15" name="Rectangle 14">
            <a:extLst>
              <a:ext uri="{FF2B5EF4-FFF2-40B4-BE49-F238E27FC236}">
                <a16:creationId xmlns:a16="http://schemas.microsoft.com/office/drawing/2014/main" id="{4D635081-5C14-4453-98A4-27FF3E58A236}"/>
              </a:ext>
            </a:extLst>
          </p:cNvPr>
          <p:cNvSpPr/>
          <p:nvPr/>
        </p:nvSpPr>
        <p:spPr>
          <a:xfrm>
            <a:off x="8111904" y="4467020"/>
            <a:ext cx="3920151" cy="210146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91440" rIns="91440" bIns="45720" rtlCol="0" anchor="t"/>
          <a:lstStyle/>
          <a:p>
            <a:pPr algn="ctr"/>
            <a:r>
              <a:rPr lang="en-US" sz="1200">
                <a:solidFill>
                  <a:schemeClr val="tx1"/>
                </a:solidFill>
              </a:rPr>
              <a:t>Please include details of other options that were considered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B42DDD8B-A225-4AEC-B7E5-73014FBF653C}"/>
              </a:ext>
            </a:extLst>
          </p:cNvPr>
          <p:cNvSpPr txBox="1"/>
          <p:nvPr/>
        </p:nvSpPr>
        <p:spPr>
          <a:xfrm>
            <a:off x="8111903" y="3617557"/>
            <a:ext cx="3920151" cy="849463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wrap="square" lIns="182880" tIns="146304" rIns="182880" bIns="146304" rtlCol="0">
            <a:spAutoFit/>
          </a:bodyPr>
          <a:lstStyle/>
          <a:p>
            <a:pPr algn="ctr"/>
            <a:r>
              <a:rPr lang="en-US" b="1">
                <a:solidFill>
                  <a:schemeClr val="tx1"/>
                </a:solidFill>
              </a:rPr>
              <a:t>What other options were considered?</a:t>
            </a:r>
            <a:endParaRPr lang="en-US" sz="2000" b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515999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5010FE8-BF09-4146-B084-66CB05B66FD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9240" y="289511"/>
            <a:ext cx="11655840" cy="880190"/>
          </a:xfrm>
        </p:spPr>
        <p:txBody>
          <a:bodyPr/>
          <a:lstStyle/>
          <a:p>
            <a:r>
              <a:rPr lang="en-GB" sz="4000" dirty="0">
                <a:solidFill>
                  <a:schemeClr val="tx1"/>
                </a:solidFill>
              </a:rPr>
              <a:t>Gap ##: Title of the gap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72837305-2ABA-4EB3-8826-E9F09C5A91A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390071" y="1031277"/>
            <a:ext cx="11277600" cy="0"/>
          </a:xfrm>
          <a:prstGeom prst="line">
            <a:avLst/>
          </a:prstGeom>
          <a:noFill/>
          <a:ln w="3175">
            <a:solidFill>
              <a:schemeClr val="bg1">
                <a:lumMod val="85000"/>
              </a:schemeClr>
            </a:solidFill>
            <a:prstDash val="dash"/>
          </a:ln>
        </p:spPr>
      </p:cxnSp>
      <p:sp>
        <p:nvSpPr>
          <p:cNvPr id="52" name="Rectangle 51">
            <a:extLst>
              <a:ext uri="{FF2B5EF4-FFF2-40B4-BE49-F238E27FC236}">
                <a16:creationId xmlns:a16="http://schemas.microsoft.com/office/drawing/2014/main" id="{F23E2C28-CB8E-4744-9410-C2E970FCFB05}"/>
              </a:ext>
            </a:extLst>
          </p:cNvPr>
          <p:cNvSpPr/>
          <p:nvPr/>
        </p:nvSpPr>
        <p:spPr>
          <a:xfrm>
            <a:off x="8392668" y="0"/>
            <a:ext cx="3799332" cy="443365"/>
          </a:xfrm>
          <a:prstGeom prst="rect">
            <a:avLst/>
          </a:prstGeom>
          <a:solidFill>
            <a:schemeClr val="tx2"/>
          </a:solidFill>
          <a:ln w="31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defTabSz="932597">
              <a:defRPr/>
            </a:pPr>
            <a:r>
              <a:rPr lang="en-US" sz="2000">
                <a:solidFill>
                  <a:srgbClr val="FFC000"/>
                </a:solidFill>
                <a:latin typeface="+mj-lt"/>
              </a:rPr>
              <a:t>Customer slide (please update)</a:t>
            </a:r>
            <a:endParaRPr lang="en-US" sz="2000">
              <a:solidFill>
                <a:srgbClr val="FFC000"/>
              </a:solidFill>
              <a:latin typeface="+mj-lt"/>
              <a:cs typeface="Segoe UI Semibold"/>
            </a:endParaRP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F1AFCA7D-63E7-417D-998B-342F71F36AD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390071" y="1197183"/>
            <a:ext cx="3446254" cy="5371305"/>
            <a:chOff x="968040" y="1202681"/>
            <a:chExt cx="4923802" cy="2627447"/>
          </a:xfrm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4227308A-4FE9-4C05-BB5D-16C9B8CF8C09}"/>
                </a:ext>
              </a:extLst>
            </p:cNvPr>
            <p:cNvSpPr/>
            <p:nvPr/>
          </p:nvSpPr>
          <p:spPr>
            <a:xfrm>
              <a:off x="968040" y="1618207"/>
              <a:ext cx="4923802" cy="2211921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91440" rtlCol="0" anchor="t"/>
            <a:lstStyle/>
            <a:p>
              <a:pPr algn="ctr"/>
              <a:r>
                <a:rPr lang="en-US" sz="1400">
                  <a:solidFill>
                    <a:schemeClr val="tx1"/>
                  </a:solidFill>
                </a:rPr>
                <a:t>Example 1: we need report taxes to multiple authorities</a:t>
              </a:r>
            </a:p>
          </p:txBody>
        </p:sp>
        <p:sp>
          <p:nvSpPr>
            <p:cNvPr id="5" name="TextBox 4">
              <a:extLst>
                <a:ext uri="{FF2B5EF4-FFF2-40B4-BE49-F238E27FC236}">
                  <a16:creationId xmlns:a16="http://schemas.microsoft.com/office/drawing/2014/main" id="{E5DC63EE-DBB0-49B8-A6C8-6875675C302B}"/>
                </a:ext>
              </a:extLst>
            </p:cNvPr>
            <p:cNvSpPr txBox="1"/>
            <p:nvPr/>
          </p:nvSpPr>
          <p:spPr>
            <a:xfrm>
              <a:off x="968040" y="1202681"/>
              <a:ext cx="4923802" cy="415526"/>
            </a:xfrm>
            <a:prstGeom prst="rect">
              <a:avLst/>
            </a:prstGeom>
            <a:solidFill>
              <a:schemeClr val="accent4">
                <a:lumMod val="20000"/>
                <a:lumOff val="80000"/>
              </a:schemeClr>
            </a:solidFill>
          </p:spPr>
          <p:txBody>
            <a:bodyPr wrap="square" lIns="182880" tIns="146304" rIns="182880" bIns="146304" rtlCol="0" anchor="t">
              <a:spAutoFit/>
            </a:bodyPr>
            <a:lstStyle/>
            <a:p>
              <a:pPr algn="ctr"/>
              <a:r>
                <a:rPr lang="en-US" b="1"/>
                <a:t>Add business requirement and process information</a:t>
              </a:r>
              <a:endParaRPr lang="en-US" sz="2000" b="1"/>
            </a:p>
          </p:txBody>
        </p:sp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9DF4793B-AFEC-46EE-9F44-A21420608D6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8111904" y="1185131"/>
            <a:ext cx="3920151" cy="2243869"/>
            <a:chOff x="968040" y="3880783"/>
            <a:chExt cx="4923802" cy="2635551"/>
          </a:xfrm>
        </p:grpSpPr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AD877597-C58A-4F11-971F-738C8C342DDF}"/>
                </a:ext>
              </a:extLst>
            </p:cNvPr>
            <p:cNvSpPr/>
            <p:nvPr/>
          </p:nvSpPr>
          <p:spPr>
            <a:xfrm>
              <a:off x="968040" y="4536651"/>
              <a:ext cx="4923802" cy="1979683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91440" rtlCol="0" anchor="t"/>
            <a:lstStyle/>
            <a:p>
              <a:pPr algn="ctr"/>
              <a:r>
                <a:rPr lang="en-US" sz="1200">
                  <a:solidFill>
                    <a:schemeClr val="tx1"/>
                  </a:solidFill>
                </a:rPr>
                <a:t>Dependency on other solution components?</a:t>
              </a:r>
            </a:p>
            <a:p>
              <a:pPr algn="ctr"/>
              <a:r>
                <a:rPr lang="en-US" sz="1200">
                  <a:solidFill>
                    <a:schemeClr val="tx1"/>
                  </a:solidFill>
                </a:rPr>
                <a:t>Performance impacts?</a:t>
              </a:r>
            </a:p>
            <a:p>
              <a:pPr algn="ctr"/>
              <a:r>
                <a:rPr lang="en-US" sz="1200">
                  <a:solidFill>
                    <a:schemeClr val="tx1"/>
                  </a:solidFill>
                </a:rPr>
                <a:t>Added complexity to the business process?</a:t>
              </a:r>
            </a:p>
            <a:p>
              <a:pPr algn="ctr"/>
              <a:r>
                <a:rPr lang="en-US" sz="1200">
                  <a:solidFill>
                    <a:schemeClr val="tx1"/>
                  </a:solidFill>
                </a:rPr>
                <a:t>Storage impacts?</a:t>
              </a:r>
            </a:p>
          </p:txBody>
        </p:sp>
        <p:sp>
          <p:nvSpPr>
            <p:cNvPr id="31" name="TextBox 30">
              <a:extLst>
                <a:ext uri="{FF2B5EF4-FFF2-40B4-BE49-F238E27FC236}">
                  <a16:creationId xmlns:a16="http://schemas.microsoft.com/office/drawing/2014/main" id="{A09AA2CA-4C58-4921-95C0-FB68D16FB9B7}"/>
                </a:ext>
              </a:extLst>
            </p:cNvPr>
            <p:cNvSpPr txBox="1"/>
            <p:nvPr/>
          </p:nvSpPr>
          <p:spPr>
            <a:xfrm>
              <a:off x="968040" y="3880783"/>
              <a:ext cx="4923802" cy="658284"/>
            </a:xfrm>
            <a:prstGeom prst="rect">
              <a:avLst/>
            </a:prstGeom>
            <a:solidFill>
              <a:schemeClr val="accent4">
                <a:lumMod val="20000"/>
                <a:lumOff val="80000"/>
              </a:schemeClr>
            </a:solidFill>
          </p:spPr>
          <p:txBody>
            <a:bodyPr wrap="square" lIns="182880" tIns="146304" rIns="182880" bIns="146304" rtlCol="0" anchor="t">
              <a:spAutoFit/>
            </a:bodyPr>
            <a:lstStyle/>
            <a:p>
              <a:pPr algn="ctr"/>
              <a:r>
                <a:rPr lang="en-US" b="1">
                  <a:solidFill>
                    <a:schemeClr val="tx1"/>
                  </a:solidFill>
                </a:rPr>
                <a:t>Risk considerations</a:t>
              </a:r>
              <a:endParaRPr lang="ru-RU" sz="2000" b="1">
                <a:solidFill>
                  <a:schemeClr val="tx1"/>
                </a:solidFill>
              </a:endParaRPr>
            </a:p>
          </p:txBody>
        </p:sp>
      </p:grpSp>
      <p:grpSp>
        <p:nvGrpSpPr>
          <p:cNvPr id="11" name="Group 10">
            <a:extLst>
              <a:ext uri="{FF2B5EF4-FFF2-40B4-BE49-F238E27FC236}">
                <a16:creationId xmlns:a16="http://schemas.microsoft.com/office/drawing/2014/main" id="{6504A98E-E14A-459E-A6D7-D40EC085CB9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4152622" y="1169700"/>
            <a:ext cx="3692361" cy="5398788"/>
            <a:chOff x="6810998" y="1202681"/>
            <a:chExt cx="4923802" cy="5313647"/>
          </a:xfrm>
        </p:grpSpPr>
        <p:sp>
          <p:nvSpPr>
            <p:cNvPr id="46" name="Rectangle 45">
              <a:extLst>
                <a:ext uri="{FF2B5EF4-FFF2-40B4-BE49-F238E27FC236}">
                  <a16:creationId xmlns:a16="http://schemas.microsoft.com/office/drawing/2014/main" id="{423E3344-0D3E-40C6-A30D-D9146C16FFD2}"/>
                </a:ext>
              </a:extLst>
            </p:cNvPr>
            <p:cNvSpPr/>
            <p:nvPr/>
          </p:nvSpPr>
          <p:spPr>
            <a:xfrm>
              <a:off x="6810998" y="2129626"/>
              <a:ext cx="4923802" cy="4386702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91440" rIns="91440" bIns="45720" rtlCol="0" anchor="t"/>
            <a:lstStyle/>
            <a:p>
              <a:pPr algn="ctr"/>
              <a:r>
                <a:rPr lang="en-US" sz="1400">
                  <a:solidFill>
                    <a:schemeClr val="tx1"/>
                  </a:solidFill>
                </a:rPr>
                <a:t>Please update with information on the approach that is planned to fill this gap</a:t>
              </a:r>
              <a:endParaRPr lang="en-US" sz="1400">
                <a:solidFill>
                  <a:schemeClr val="tx1"/>
                </a:solidFill>
                <a:cs typeface="Segoe UI"/>
              </a:endParaRPr>
            </a:p>
          </p:txBody>
        </p:sp>
        <p:sp>
          <p:nvSpPr>
            <p:cNvPr id="33" name="TextBox 32">
              <a:extLst>
                <a:ext uri="{FF2B5EF4-FFF2-40B4-BE49-F238E27FC236}">
                  <a16:creationId xmlns:a16="http://schemas.microsoft.com/office/drawing/2014/main" id="{F0C1CE1F-5742-4079-A4DA-DA19F30BA6F7}"/>
                </a:ext>
              </a:extLst>
            </p:cNvPr>
            <p:cNvSpPr txBox="1"/>
            <p:nvPr/>
          </p:nvSpPr>
          <p:spPr>
            <a:xfrm>
              <a:off x="6810998" y="1202681"/>
              <a:ext cx="4923802" cy="926944"/>
            </a:xfrm>
            <a:prstGeom prst="rect">
              <a:avLst/>
            </a:prstGeom>
            <a:solidFill>
              <a:schemeClr val="accent4">
                <a:lumMod val="20000"/>
                <a:lumOff val="80000"/>
              </a:schemeClr>
            </a:solidFill>
          </p:spPr>
          <p:txBody>
            <a:bodyPr wrap="square" lIns="182880" tIns="146304" rIns="182880" bIns="146304" rtlCol="0" anchor="t">
              <a:spAutoFit/>
            </a:bodyPr>
            <a:lstStyle/>
            <a:p>
              <a:pPr algn="ctr"/>
              <a:r>
                <a:rPr lang="en-US" sz="2000" b="1"/>
                <a:t>Solution details</a:t>
              </a:r>
            </a:p>
            <a:p>
              <a:pPr algn="ctr"/>
              <a:r>
                <a:rPr lang="en-US" sz="1100" b="1">
                  <a:solidFill>
                    <a:schemeClr val="tx1"/>
                  </a:solidFill>
                  <a:cs typeface="Segoe UI"/>
                </a:rPr>
                <a:t>Note: </a:t>
              </a:r>
              <a:r>
                <a:rPr lang="en-US" sz="1100">
                  <a:solidFill>
                    <a:schemeClr val="tx1"/>
                  </a:solidFill>
                  <a:cs typeface="Segoe UI"/>
                </a:rPr>
                <a:t>If Standard/OOB option is available, please include details on why this wasn't selected</a:t>
              </a:r>
            </a:p>
          </p:txBody>
        </p:sp>
      </p:grpSp>
      <p:sp>
        <p:nvSpPr>
          <p:cNvPr id="15" name="Rectangle 14">
            <a:extLst>
              <a:ext uri="{FF2B5EF4-FFF2-40B4-BE49-F238E27FC236}">
                <a16:creationId xmlns:a16="http://schemas.microsoft.com/office/drawing/2014/main" id="{4D635081-5C14-4453-98A4-27FF3E58A236}"/>
              </a:ext>
            </a:extLst>
          </p:cNvPr>
          <p:cNvSpPr/>
          <p:nvPr/>
        </p:nvSpPr>
        <p:spPr>
          <a:xfrm>
            <a:off x="8111904" y="4467020"/>
            <a:ext cx="3920151" cy="210146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91440" rtlCol="0" anchor="t"/>
          <a:lstStyle/>
          <a:p>
            <a:pPr algn="ctr"/>
            <a:r>
              <a:rPr lang="en-US" sz="1200">
                <a:solidFill>
                  <a:schemeClr val="tx1"/>
                </a:solidFill>
              </a:rPr>
              <a:t>Please include details of other options that were considered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B42DDD8B-A225-4AEC-B7E5-73014FBF653C}"/>
              </a:ext>
            </a:extLst>
          </p:cNvPr>
          <p:cNvSpPr txBox="1"/>
          <p:nvPr/>
        </p:nvSpPr>
        <p:spPr>
          <a:xfrm>
            <a:off x="8111903" y="3617557"/>
            <a:ext cx="3920151" cy="849463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wrap="square" lIns="182880" tIns="146304" rIns="182880" bIns="146304" rtlCol="0">
            <a:spAutoFit/>
          </a:bodyPr>
          <a:lstStyle/>
          <a:p>
            <a:pPr algn="ctr"/>
            <a:r>
              <a:rPr lang="en-US" b="1">
                <a:solidFill>
                  <a:schemeClr val="tx1"/>
                </a:solidFill>
              </a:rPr>
              <a:t>What other options were considered?</a:t>
            </a:r>
            <a:endParaRPr lang="en-US" sz="2000" b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451644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5010FE8-BF09-4146-B084-66CB05B66F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Q&amp;A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9E0DB5B5-71CC-4A82-83C7-4427225E89B4}"/>
              </a:ext>
            </a:extLst>
          </p:cNvPr>
          <p:cNvSpPr/>
          <p:nvPr/>
        </p:nvSpPr>
        <p:spPr>
          <a:xfrm>
            <a:off x="506804" y="1895261"/>
            <a:ext cx="6168633" cy="52238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8640" rtlCol="0" anchor="ctr"/>
          <a:lstStyle/>
          <a:p>
            <a:r>
              <a:rPr lang="en-US" sz="1600">
                <a:solidFill>
                  <a:schemeClr val="tx1"/>
                </a:solidFill>
              </a:rPr>
              <a:t>Brief Q&amp;A to discuss any additional topic areas.</a:t>
            </a:r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369EA57D-195B-4FC2-A16F-1D98E98E9A6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457200" y="1993398"/>
            <a:ext cx="326112" cy="326112"/>
            <a:chOff x="115497" y="1864737"/>
            <a:chExt cx="461744" cy="461744"/>
          </a:xfrm>
          <a:solidFill>
            <a:schemeClr val="tx2"/>
          </a:solidFill>
        </p:grpSpPr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6D5F158D-72EA-4FD7-9A32-476745931B0D}"/>
                </a:ext>
              </a:extLst>
            </p:cNvPr>
            <p:cNvSpPr/>
            <p:nvPr/>
          </p:nvSpPr>
          <p:spPr bwMode="auto">
            <a:xfrm>
              <a:off x="115497" y="1864737"/>
              <a:ext cx="461744" cy="461744"/>
            </a:xfrm>
            <a:custGeom>
              <a:avLst/>
              <a:gdLst>
                <a:gd name="connsiteX0" fmla="*/ 230872 w 461744"/>
                <a:gd name="connsiteY0" fmla="*/ 30738 h 461744"/>
                <a:gd name="connsiteX1" fmla="*/ 30738 w 461744"/>
                <a:gd name="connsiteY1" fmla="*/ 230872 h 461744"/>
                <a:gd name="connsiteX2" fmla="*/ 230872 w 461744"/>
                <a:gd name="connsiteY2" fmla="*/ 431006 h 461744"/>
                <a:gd name="connsiteX3" fmla="*/ 431006 w 461744"/>
                <a:gd name="connsiteY3" fmla="*/ 230872 h 461744"/>
                <a:gd name="connsiteX4" fmla="*/ 230872 w 461744"/>
                <a:gd name="connsiteY4" fmla="*/ 30738 h 461744"/>
                <a:gd name="connsiteX5" fmla="*/ 230872 w 461744"/>
                <a:gd name="connsiteY5" fmla="*/ 0 h 461744"/>
                <a:gd name="connsiteX6" fmla="*/ 461744 w 461744"/>
                <a:gd name="connsiteY6" fmla="*/ 230872 h 461744"/>
                <a:gd name="connsiteX7" fmla="*/ 230872 w 461744"/>
                <a:gd name="connsiteY7" fmla="*/ 461744 h 461744"/>
                <a:gd name="connsiteX8" fmla="*/ 0 w 461744"/>
                <a:gd name="connsiteY8" fmla="*/ 230872 h 461744"/>
                <a:gd name="connsiteX9" fmla="*/ 230872 w 461744"/>
                <a:gd name="connsiteY9" fmla="*/ 0 h 4617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61744" h="461744">
                  <a:moveTo>
                    <a:pt x="230872" y="30738"/>
                  </a:moveTo>
                  <a:cubicBezTo>
                    <a:pt x="120341" y="30738"/>
                    <a:pt x="30738" y="120341"/>
                    <a:pt x="30738" y="230872"/>
                  </a:cubicBezTo>
                  <a:cubicBezTo>
                    <a:pt x="30738" y="341403"/>
                    <a:pt x="120341" y="431006"/>
                    <a:pt x="230872" y="431006"/>
                  </a:cubicBezTo>
                  <a:cubicBezTo>
                    <a:pt x="341403" y="431006"/>
                    <a:pt x="431006" y="341403"/>
                    <a:pt x="431006" y="230872"/>
                  </a:cubicBezTo>
                  <a:cubicBezTo>
                    <a:pt x="431006" y="120341"/>
                    <a:pt x="341403" y="30738"/>
                    <a:pt x="230872" y="30738"/>
                  </a:cubicBezTo>
                  <a:close/>
                  <a:moveTo>
                    <a:pt x="230872" y="0"/>
                  </a:moveTo>
                  <a:cubicBezTo>
                    <a:pt x="358379" y="0"/>
                    <a:pt x="461744" y="103365"/>
                    <a:pt x="461744" y="230872"/>
                  </a:cubicBezTo>
                  <a:cubicBezTo>
                    <a:pt x="461744" y="358379"/>
                    <a:pt x="358379" y="461744"/>
                    <a:pt x="230872" y="461744"/>
                  </a:cubicBezTo>
                  <a:cubicBezTo>
                    <a:pt x="103365" y="461744"/>
                    <a:pt x="0" y="358379"/>
                    <a:pt x="0" y="230872"/>
                  </a:cubicBezTo>
                  <a:cubicBezTo>
                    <a:pt x="0" y="103365"/>
                    <a:pt x="103365" y="0"/>
                    <a:pt x="230872" y="0"/>
                  </a:cubicBezTo>
                  <a:close/>
                </a:path>
              </a:pathLst>
            </a:custGeom>
            <a:grpFill/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1" name="Graphic 77">
              <a:extLst>
                <a:ext uri="{FF2B5EF4-FFF2-40B4-BE49-F238E27FC236}">
                  <a16:creationId xmlns:a16="http://schemas.microsoft.com/office/drawing/2014/main" id="{3CA31C58-F974-4272-8468-1BE1EE27E619}"/>
                </a:ext>
              </a:extLst>
            </p:cNvPr>
            <p:cNvSpPr/>
            <p:nvPr/>
          </p:nvSpPr>
          <p:spPr>
            <a:xfrm>
              <a:off x="230796" y="2004258"/>
              <a:ext cx="243074" cy="175239"/>
            </a:xfrm>
            <a:custGeom>
              <a:avLst/>
              <a:gdLst>
                <a:gd name="connsiteX0" fmla="*/ 349767 w 409575"/>
                <a:gd name="connsiteY0" fmla="*/ 0 h 295275"/>
                <a:gd name="connsiteX1" fmla="*/ 155475 w 409575"/>
                <a:gd name="connsiteY1" fmla="*/ 182790 h 295275"/>
                <a:gd name="connsiteX2" fmla="*/ 55043 w 409575"/>
                <a:gd name="connsiteY2" fmla="*/ 107415 h 295275"/>
                <a:gd name="connsiteX3" fmla="*/ 0 w 409575"/>
                <a:gd name="connsiteY3" fmla="*/ 181147 h 295275"/>
                <a:gd name="connsiteX4" fmla="*/ 131445 w 409575"/>
                <a:gd name="connsiteY4" fmla="*/ 279731 h 295275"/>
                <a:gd name="connsiteX5" fmla="*/ 163279 w 409575"/>
                <a:gd name="connsiteY5" fmla="*/ 303556 h 295275"/>
                <a:gd name="connsiteX6" fmla="*/ 191623 w 409575"/>
                <a:gd name="connsiteY6" fmla="*/ 275418 h 295275"/>
                <a:gd name="connsiteX7" fmla="*/ 415079 w 409575"/>
                <a:gd name="connsiteY7" fmla="*/ 65106 h 295275"/>
                <a:gd name="connsiteX8" fmla="*/ 349767 w 409575"/>
                <a:gd name="connsiteY8" fmla="*/ 0 h 295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09575" h="295275">
                  <a:moveTo>
                    <a:pt x="349767" y="0"/>
                  </a:moveTo>
                  <a:cubicBezTo>
                    <a:pt x="290526" y="59369"/>
                    <a:pt x="220475" y="120315"/>
                    <a:pt x="155475" y="182790"/>
                  </a:cubicBezTo>
                  <a:lnTo>
                    <a:pt x="55043" y="107415"/>
                  </a:lnTo>
                  <a:lnTo>
                    <a:pt x="0" y="181147"/>
                  </a:lnTo>
                  <a:lnTo>
                    <a:pt x="131445" y="279731"/>
                  </a:lnTo>
                  <a:lnTo>
                    <a:pt x="163279" y="303556"/>
                  </a:lnTo>
                  <a:lnTo>
                    <a:pt x="191623" y="275418"/>
                  </a:lnTo>
                  <a:cubicBezTo>
                    <a:pt x="259626" y="207269"/>
                    <a:pt x="342874" y="137467"/>
                    <a:pt x="415079" y="65106"/>
                  </a:cubicBezTo>
                  <a:lnTo>
                    <a:pt x="349767" y="0"/>
                  </a:lnTo>
                  <a:close/>
                </a:path>
              </a:pathLst>
            </a:custGeom>
            <a:grpFill/>
            <a:ln w="65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38" name="Rectangle 37">
            <a:extLst>
              <a:ext uri="{FF2B5EF4-FFF2-40B4-BE49-F238E27FC236}">
                <a16:creationId xmlns:a16="http://schemas.microsoft.com/office/drawing/2014/main" id="{54FDBA81-4E94-4312-93CB-C497C8DC0C5E}"/>
              </a:ext>
            </a:extLst>
          </p:cNvPr>
          <p:cNvSpPr/>
          <p:nvPr/>
        </p:nvSpPr>
        <p:spPr>
          <a:xfrm>
            <a:off x="6810998" y="1895262"/>
            <a:ext cx="4923802" cy="461983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91440" rtlCol="0" anchor="t"/>
          <a:lstStyle/>
          <a:p>
            <a:pPr algn="ctr"/>
            <a:r>
              <a:rPr lang="en-US" sz="1600">
                <a:solidFill>
                  <a:schemeClr val="tx1"/>
                </a:solidFill>
              </a:rPr>
              <a:t>List questions and follow up actions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7BCE2C40-90DB-4FC2-953D-507B8E0183F5}"/>
              </a:ext>
            </a:extLst>
          </p:cNvPr>
          <p:cNvSpPr/>
          <p:nvPr/>
        </p:nvSpPr>
        <p:spPr>
          <a:xfrm>
            <a:off x="8419249" y="0"/>
            <a:ext cx="3772751" cy="443365"/>
          </a:xfrm>
          <a:prstGeom prst="rect">
            <a:avLst/>
          </a:prstGeom>
          <a:solidFill>
            <a:schemeClr val="tx2"/>
          </a:solidFill>
          <a:ln w="31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defTabSz="932597">
              <a:defRPr/>
            </a:pPr>
            <a:r>
              <a:rPr lang="en-US" sz="2000">
                <a:solidFill>
                  <a:srgbClr val="FFC000"/>
                </a:solidFill>
                <a:latin typeface="+mj-lt"/>
              </a:rPr>
              <a:t>Customer slide (please update)</a:t>
            </a:r>
            <a:endParaRPr lang="en-US" sz="2000">
              <a:solidFill>
                <a:srgbClr val="FFC000"/>
              </a:solidFill>
              <a:latin typeface="+mj-lt"/>
              <a:cs typeface="Segoe UI Semibold"/>
            </a:endParaRPr>
          </a:p>
        </p:txBody>
      </p:sp>
    </p:spTree>
    <p:extLst>
      <p:ext uri="{BB962C8B-B14F-4D97-AF65-F5344CB8AC3E}">
        <p14:creationId xmlns:p14="http://schemas.microsoft.com/office/powerpoint/2010/main" val="8556318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j9AMThGLMdpwwbD3T1Wg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dWOKmPFLDgGZxGfiF.s1w"/>
</p:tagLst>
</file>

<file path=ppt/theme/theme1.xml><?xml version="1.0" encoding="utf-8"?>
<a:theme xmlns:a="http://schemas.openxmlformats.org/drawingml/2006/main" name="Microsoft Dynamics 365">
  <a:themeElements>
    <a:clrScheme name="MSFT Dynamics 365">
      <a:dk1>
        <a:srgbClr val="505050"/>
      </a:dk1>
      <a:lt1>
        <a:sysClr val="window" lastClr="FFFFFF"/>
      </a:lt1>
      <a:dk2>
        <a:srgbClr val="008272"/>
      </a:dk2>
      <a:lt2>
        <a:srgbClr val="E7E6E6"/>
      </a:lt2>
      <a:accent1>
        <a:srgbClr val="008272"/>
      </a:accent1>
      <a:accent2>
        <a:srgbClr val="30E5D0"/>
      </a:accent2>
      <a:accent3>
        <a:srgbClr val="FEF000"/>
      </a:accent3>
      <a:accent4>
        <a:srgbClr val="3C3C41"/>
      </a:accent4>
      <a:accent5>
        <a:srgbClr val="75757A"/>
      </a:accent5>
      <a:accent6>
        <a:srgbClr val="EBEBEB"/>
      </a:accent6>
      <a:hlink>
        <a:srgbClr val="0563C1"/>
      </a:hlink>
      <a:folHlink>
        <a:srgbClr val="954F72"/>
      </a:folHlink>
    </a:clrScheme>
    <a:fontScheme name="Custom 33">
      <a:majorFont>
        <a:latin typeface="Segoe UI Semibold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Brand_template_16-9_Business_DARK_BLUE_2016_8.potx" id="{4FF32A3D-B0EC-495C-AF46-E5EB76C621A5}" vid="{49D7FC66-7821-4689-8681-3263CCC233C7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3C23B1A370DB454895F1017B66A82434" ma:contentTypeVersion="15" ma:contentTypeDescription="Create a new document." ma:contentTypeScope="" ma:versionID="eef06004c515176c12416b0fb511e7c4">
  <xsd:schema xmlns:xsd="http://www.w3.org/2001/XMLSchema" xmlns:xs="http://www.w3.org/2001/XMLSchema" xmlns:p="http://schemas.microsoft.com/office/2006/metadata/properties" xmlns:ns1="http://schemas.microsoft.com/sharepoint/v3" xmlns:ns2="8e793c00-403c-4e2e-9f3f-1f9fce3bba0e" xmlns:ns3="21801293-8b26-4deb-98c0-71fc7c1e1877" targetNamespace="http://schemas.microsoft.com/office/2006/metadata/properties" ma:root="true" ma:fieldsID="60551183d560ece34b54a706bc0b5231" ns1:_="" ns2:_="" ns3:_="">
    <xsd:import namespace="http://schemas.microsoft.com/sharepoint/v3"/>
    <xsd:import namespace="8e793c00-403c-4e2e-9f3f-1f9fce3bba0e"/>
    <xsd:import namespace="21801293-8b26-4deb-98c0-71fc7c1e1877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3:SharedWithUsers" minOccurs="0"/>
                <xsd:element ref="ns3:SharedWithDetails" minOccurs="0"/>
                <xsd:element ref="ns2:MediaServiceAutoKeyPoints" minOccurs="0"/>
                <xsd:element ref="ns2:MediaServiceKeyPoints" minOccurs="0"/>
                <xsd:element ref="ns1:_ip_UnifiedCompliancePolicyProperties" minOccurs="0"/>
                <xsd:element ref="ns1:_ip_UnifiedCompliancePolicyUIAction" minOccurs="0"/>
                <xsd:element ref="ns2:MediaLengthInSeconds" minOccurs="0"/>
                <xsd:element ref="ns2:MediaServiceAutoTags" minOccurs="0"/>
                <xsd:element ref="ns2:MediaServiceLocation" minOccurs="0"/>
                <xsd:element ref="ns2:MediaServiceGenerationTime" minOccurs="0"/>
                <xsd:element ref="ns2:MediaServiceEventHashCode" minOccurs="0"/>
                <xsd:element ref="ns2:MediaServiceOCR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_ip_UnifiedCompliancePolicyProperties" ma:index="15" nillable="true" ma:displayName="Unified Compliance Policy Properties" ma:hidden="true" ma:internalName="_ip_UnifiedCompliancePolicyProperties">
      <xsd:simpleType>
        <xsd:restriction base="dms:Note"/>
      </xsd:simpleType>
    </xsd:element>
    <xsd:element name="_ip_UnifiedCompliancePolicyUIAction" ma:index="16" nillable="true" ma:displayName="Unified Compliance Policy UI Action" ma:hidden="true" ma:internalName="_ip_UnifiedCompliancePolicyUIAction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e793c00-403c-4e2e-9f3f-1f9fce3bba0e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KeyPoints" ma:index="13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4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17" nillable="true" ma:displayName="Length (seconds)" ma:internalName="MediaLengthInSeconds" ma:readOnly="true">
      <xsd:simpleType>
        <xsd:restriction base="dms:Unknown"/>
      </xsd:simpleType>
    </xsd:element>
    <xsd:element name="MediaServiceAutoTags" ma:index="18" nillable="true" ma:displayName="Tags" ma:internalName="MediaServiceAutoTags" ma:readOnly="true">
      <xsd:simpleType>
        <xsd:restriction base="dms:Text"/>
      </xsd:simpleType>
    </xsd:element>
    <xsd:element name="MediaServiceLocation" ma:index="19" nillable="true" ma:displayName="Location" ma:internalName="MediaServiceLocation" ma:readOnly="true">
      <xsd:simpleType>
        <xsd:restriction base="dms:Text"/>
      </xsd:simpleType>
    </xsd:element>
    <xsd:element name="MediaServiceGenerationTime" ma:index="20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21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22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1801293-8b26-4deb-98c0-71fc7c1e1877" elementFormDefault="qualified">
    <xsd:import namespace="http://schemas.microsoft.com/office/2006/documentManagement/types"/>
    <xsd:import namespace="http://schemas.microsoft.com/office/infopath/2007/PartnerControls"/>
    <xsd:element name="SharedWithUsers" ma:index="11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2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ip_UnifiedCompliancePolicyUIAction xmlns="http://schemas.microsoft.com/sharepoint/v3" xsi:nil="true"/>
    <_ip_UnifiedCompliancePolicyProperties xmlns="http://schemas.microsoft.com/sharepoint/v3" xsi:nil="true"/>
  </documentManagement>
</p:properties>
</file>

<file path=customXml/itemProps1.xml><?xml version="1.0" encoding="utf-8"?>
<ds:datastoreItem xmlns:ds="http://schemas.openxmlformats.org/officeDocument/2006/customXml" ds:itemID="{FE1882E7-9227-4C06-A2E1-D3F4BF0D38BE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5B45C49E-492F-46CA-979A-6144DC09C985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8e793c00-403c-4e2e-9f3f-1f9fce3bba0e"/>
    <ds:schemaRef ds:uri="21801293-8b26-4deb-98c0-71fc7c1e1877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807D7729-9157-422A-A322-F886DC74C10E}">
  <ds:schemaRefs>
    <ds:schemaRef ds:uri="21801293-8b26-4deb-98c0-71fc7c1e1877"/>
    <ds:schemaRef ds:uri="8e793c00-403c-4e2e-9f3f-1f9fce3bba0e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microsoft.com/sharepoint/v3"/>
    <ds:schemaRef ds:uri="http://schemas.openxmlformats.org/package/2006/metadata/core-properties"/>
    <ds:schemaRef ds:uri="http://www.w3.org/XML/1998/namespace"/>
  </ds:schemaRefs>
</ds:datastoreItem>
</file>

<file path=docMetadata/LabelInfo.xml><?xml version="1.0" encoding="utf-8"?>
<clbl:labelList xmlns:clbl="http://schemas.microsoft.com/office/2020/mipLabelMetadata">
  <clbl:label id="{72f988bf-86f1-41af-91ab-2d7cd011db47}" enabled="0" method="" siteId="{72f988bf-86f1-41af-91ab-2d7cd011db47}" removed="1"/>
</clbl:labelList>
</file>

<file path=docProps/app.xml><?xml version="1.0" encoding="utf-8"?>
<Properties xmlns="http://schemas.openxmlformats.org/officeDocument/2006/extended-properties" xmlns:vt="http://schemas.openxmlformats.org/officeDocument/2006/docPropsVTypes">
  <TotalTime>6</TotalTime>
  <Words>934</Words>
  <Application>Microsoft Office PowerPoint</Application>
  <PresentationFormat>Widescreen</PresentationFormat>
  <Paragraphs>162</Paragraphs>
  <Slides>11</Slides>
  <Notes>11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1</vt:i4>
      </vt:variant>
    </vt:vector>
  </HeadingPairs>
  <TitlesOfParts>
    <vt:vector size="19" baseType="lpstr">
      <vt:lpstr>Calibri</vt:lpstr>
      <vt:lpstr>Courier New</vt:lpstr>
      <vt:lpstr>Arial</vt:lpstr>
      <vt:lpstr>Wingdings</vt:lpstr>
      <vt:lpstr>Segoe UI Semibold</vt:lpstr>
      <vt:lpstr>Segoe UI</vt:lpstr>
      <vt:lpstr>Microsoft Dynamics 365</vt:lpstr>
      <vt:lpstr>think-cell Slide</vt:lpstr>
      <vt:lpstr>PowerPoint Presentation</vt:lpstr>
      <vt:lpstr>Gap Solution Design Workshop Agenda</vt:lpstr>
      <vt:lpstr>Instructions for customer and partner</vt:lpstr>
      <vt:lpstr>Prerequisites</vt:lpstr>
      <vt:lpstr>Top gaps</vt:lpstr>
      <vt:lpstr>Gap ##: Title of the gap</vt:lpstr>
      <vt:lpstr>Gap ##: Title of the gap</vt:lpstr>
      <vt:lpstr>Gap ##: Title of the gap</vt:lpstr>
      <vt:lpstr>Q&amp;A</vt:lpstr>
      <vt:lpstr>Next Steps</vt:lpstr>
      <vt:lpstr>Thank you.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astTrack for Microsoft Dynamics 365 for Customer Engagement</dc:title>
  <cp:revision>28</cp:revision>
  <dcterms:created xsi:type="dcterms:W3CDTF">2019-03-30T00:28:33Z</dcterms:created>
  <dcterms:modified xsi:type="dcterms:W3CDTF">2021-08-24T19:25:5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3C23B1A370DB454895F1017B66A82434</vt:lpwstr>
  </property>
  <property fmtid="{D5CDD505-2E9C-101B-9397-08002B2CF9AE}" pid="3" name="AuthorIds_UIVersion_512">
    <vt:lpwstr>68</vt:lpwstr>
  </property>
</Properties>
</file>